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tags/tag30.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tags/tag31.xml" ContentType="application/vnd.openxmlformats-officedocument.presentationml.tags+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tags/tag32.xml" ContentType="application/vnd.openxmlformats-officedocument.presentationml.tags+xml"/>
  <Override PartName="/ppt/notesSlides/notesSlide4.xml" ContentType="application/vnd.openxmlformats-officedocument.presentationml.notesSlide+xml"/>
  <Override PartName="/ppt/charts/chart5.xml" ContentType="application/vnd.openxmlformats-officedocument.drawingml.chart+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5.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tags/tag37.xml" ContentType="application/vnd.openxmlformats-officedocument.presentationml.tags+xml"/>
  <Override PartName="/ppt/charts/chart8.xml" ContentType="application/vnd.openxmlformats-officedocument.drawingml.chart+xml"/>
  <Override PartName="/ppt/tags/tag38.xml" ContentType="application/vnd.openxmlformats-officedocument.presentationml.tags+xml"/>
  <Override PartName="/ppt/notesSlides/notesSlide6.xml" ContentType="application/vnd.openxmlformats-officedocument.presentationml.notesSlide+xml"/>
  <Override PartName="/ppt/charts/chart9.xml" ContentType="application/vnd.openxmlformats-officedocument.drawingml.chart+xml"/>
  <Override PartName="/ppt/charts/style3.xml" ContentType="application/vnd.ms-office.chartstyle+xml"/>
  <Override PartName="/ppt/charts/colors3.xml" ContentType="application/vnd.ms-office.chartcolorstyle+xml"/>
  <Override PartName="/ppt/tags/tag39.xml" ContentType="application/vnd.openxmlformats-officedocument.presentationml.tags+xml"/>
  <Override PartName="/ppt/notesSlides/notesSlide7.xml" ContentType="application/vnd.openxmlformats-officedocument.presentationml.notesSlide+xml"/>
  <Override PartName="/ppt/charts/chart10.xml" ContentType="application/vnd.openxmlformats-officedocument.drawingml.chart+xml"/>
  <Override PartName="/ppt/charts/style4.xml" ContentType="application/vnd.ms-office.chartstyle+xml"/>
  <Override PartName="/ppt/charts/colors4.xml" ContentType="application/vnd.ms-office.chartcolorstyle+xml"/>
  <Override PartName="/ppt/tags/tag40.xml" ContentType="application/vnd.openxmlformats-officedocument.presentationml.tags+xml"/>
  <Override PartName="/ppt/charts/chart11.xml" ContentType="application/vnd.openxmlformats-officedocument.drawingml.chart+xml"/>
  <Override PartName="/ppt/tags/tag41.xml" ContentType="application/vnd.openxmlformats-officedocument.presentationml.tags+xml"/>
  <Override PartName="/ppt/charts/chart12.xml" ContentType="application/vnd.openxmlformats-officedocument.drawingml.chart+xml"/>
  <Override PartName="/ppt/tags/tag42.xml" ContentType="application/vnd.openxmlformats-officedocument.presentationml.tags+xml"/>
  <Override PartName="/ppt/charts/chart13.xml" ContentType="application/vnd.openxmlformats-officedocument.drawingml.chart+xml"/>
  <Override PartName="/ppt/tags/tag43.xml" ContentType="application/vnd.openxmlformats-officedocument.presentationml.tags+xml"/>
  <Override PartName="/ppt/charts/chart14.xml" ContentType="application/vnd.openxmlformats-officedocument.drawingml.chart+xml"/>
  <Override PartName="/ppt/tags/tag44.xml" ContentType="application/vnd.openxmlformats-officedocument.presentationml.tags+xml"/>
  <Override PartName="/ppt/charts/chart15.xml" ContentType="application/vnd.openxmlformats-officedocument.drawingml.chart+xml"/>
  <Override PartName="/ppt/charts/style5.xml" ContentType="application/vnd.ms-office.chartstyle+xml"/>
  <Override PartName="/ppt/charts/colors5.xml" ContentType="application/vnd.ms-office.chartcolorstyle+xml"/>
  <Override PartName="/ppt/charts/chart16.xml" ContentType="application/vnd.openxmlformats-officedocument.drawingml.chart+xml"/>
  <Override PartName="/ppt/charts/style6.xml" ContentType="application/vnd.ms-office.chartstyle+xml"/>
  <Override PartName="/ppt/charts/colors6.xml" ContentType="application/vnd.ms-office.chartcolorstyle+xml"/>
  <Override PartName="/ppt/tags/tag45.xml" ContentType="application/vnd.openxmlformats-officedocument.presentationml.tags+xml"/>
  <Override PartName="/ppt/charts/chart17.xml" ContentType="application/vnd.openxmlformats-officedocument.drawingml.chart+xml"/>
  <Override PartName="/ppt/charts/style7.xml" ContentType="application/vnd.ms-office.chartstyle+xml"/>
  <Override PartName="/ppt/charts/colors7.xml" ContentType="application/vnd.ms-office.chartcolorstyle+xml"/>
  <Override PartName="/ppt/charts/chart18.xml" ContentType="application/vnd.openxmlformats-officedocument.drawingml.chart+xml"/>
  <Override PartName="/ppt/charts/style8.xml" ContentType="application/vnd.ms-office.chartstyle+xml"/>
  <Override PartName="/ppt/charts/colors8.xml" ContentType="application/vnd.ms-office.chartcolorstyle+xml"/>
  <Override PartName="/ppt/charts/chart19.xml" ContentType="application/vnd.openxmlformats-officedocument.drawingml.chart+xml"/>
  <Override PartName="/ppt/charts/style9.xml" ContentType="application/vnd.ms-office.chartstyle+xml"/>
  <Override PartName="/ppt/charts/colors9.xml" ContentType="application/vnd.ms-office.chartcolorstyle+xml"/>
  <Override PartName="/ppt/tags/tag46.xml" ContentType="application/vnd.openxmlformats-officedocument.presentationml.tags+xml"/>
  <Override PartName="/ppt/charts/chart2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2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2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23.xml" ContentType="application/vnd.openxmlformats-officedocument.drawingml.chart+xml"/>
  <Override PartName="/ppt/charts/style13.xml" ContentType="application/vnd.ms-office.chartstyle+xml"/>
  <Override PartName="/ppt/charts/colors13.xml" ContentType="application/vnd.ms-office.chartcolorstyle+xml"/>
  <Override PartName="/ppt/tags/tag47.xml" ContentType="application/vnd.openxmlformats-officedocument.presentationml.tags+xml"/>
  <Override PartName="/ppt/charts/chart2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25.xml" ContentType="application/vnd.openxmlformats-officedocument.drawingml.chart+xml"/>
  <Override PartName="/ppt/charts/style15.xml" ContentType="application/vnd.ms-office.chartstyle+xml"/>
  <Override PartName="/ppt/charts/colors15.xml" ContentType="application/vnd.ms-office.chartcolorstyle+xml"/>
  <Override PartName="/ppt/tags/tag48.xml" ContentType="application/vnd.openxmlformats-officedocument.presentationml.tags+xml"/>
  <Override PartName="/ppt/charts/chart26.xml" ContentType="application/vnd.openxmlformats-officedocument.drawingml.chart+xml"/>
  <Override PartName="/ppt/tags/tag49.xml" ContentType="application/vnd.openxmlformats-officedocument.presentationml.tags+xml"/>
  <Override PartName="/ppt/charts/chart27.xml" ContentType="application/vnd.openxmlformats-officedocument.drawingml.chart+xml"/>
  <Override PartName="/ppt/charts/chart28.xml" ContentType="application/vnd.openxmlformats-officedocument.drawingml.chart+xml"/>
  <Override PartName="/ppt/tags/tag50.xml" ContentType="application/vnd.openxmlformats-officedocument.presentationml.tags+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tags/tag51.xml" ContentType="application/vnd.openxmlformats-officedocument.presentationml.tags+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tags/tag52.xml" ContentType="application/vnd.openxmlformats-officedocument.presentationml.tags+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tags/tag53.xml" ContentType="application/vnd.openxmlformats-officedocument.presentationml.tags+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tags/tag54.xml" ContentType="application/vnd.openxmlformats-officedocument.presentationml.tags+xml"/>
  <Override PartName="/ppt/notesSlides/notesSlide8.xml" ContentType="application/vnd.openxmlformats-officedocument.presentationml.notesSlide+xml"/>
  <Override PartName="/ppt/charts/chart47.xml" ContentType="application/vnd.openxmlformats-officedocument.drawingml.chart+xml"/>
  <Override PartName="/ppt/charts/style16.xml" ContentType="application/vnd.ms-office.chartstyle+xml"/>
  <Override PartName="/ppt/charts/colors16.xml" ContentType="application/vnd.ms-office.chartcolorstyle+xml"/>
  <Override PartName="/ppt/tags/tag55.xml" ContentType="application/vnd.openxmlformats-officedocument.presentationml.tags+xml"/>
  <Override PartName="/ppt/notesSlides/notesSlide9.xml" ContentType="application/vnd.openxmlformats-officedocument.presentationml.notesSlide+xml"/>
  <Override PartName="/ppt/charts/chart48.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49.xml" ContentType="application/vnd.openxmlformats-officedocument.drawingml.chart+xml"/>
  <Override PartName="/ppt/charts/style18.xml" ContentType="application/vnd.ms-office.chartstyle+xml"/>
  <Override PartName="/ppt/charts/colors18.xml" ContentType="application/vnd.ms-office.chartcolorstyle+xml"/>
  <Override PartName="/ppt/tags/tag56.xml" ContentType="application/vnd.openxmlformats-officedocument.presentationml.tags+xml"/>
  <Override PartName="/ppt/notesSlides/notesSlide10.xml" ContentType="application/vnd.openxmlformats-officedocument.presentationml.notesSlide+xml"/>
  <Override PartName="/ppt/charts/chart50.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51.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52.xml" ContentType="application/vnd.openxmlformats-officedocument.drawingml.chart+xml"/>
  <Override PartName="/ppt/charts/style21.xml" ContentType="application/vnd.ms-office.chartstyle+xml"/>
  <Override PartName="/ppt/charts/colors21.xml" ContentType="application/vnd.ms-office.chartcolorstyle+xml"/>
  <Override PartName="/ppt/tags/tag57.xml" ContentType="application/vnd.openxmlformats-officedocument.presentationml.tags+xml"/>
  <Override PartName="/ppt/notesSlides/notesSlide11.xml" ContentType="application/vnd.openxmlformats-officedocument.presentationml.notesSlide+xml"/>
  <Override PartName="/ppt/charts/chart53.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54.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55.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56.xml" ContentType="application/vnd.openxmlformats-officedocument.drawingml.chart+xml"/>
  <Override PartName="/ppt/charts/style25.xml" ContentType="application/vnd.ms-office.chartstyle+xml"/>
  <Override PartName="/ppt/charts/colors25.xml" ContentType="application/vnd.ms-office.chartcolorstyl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4" r:id="rId4"/>
  </p:sldMasterIdLst>
  <p:notesMasterIdLst>
    <p:notesMasterId r:id="rId35"/>
  </p:notesMasterIdLst>
  <p:sldIdLst>
    <p:sldId id="2147329454" r:id="rId5"/>
    <p:sldId id="2147475152" r:id="rId6"/>
    <p:sldId id="2147475178" r:id="rId7"/>
    <p:sldId id="2147473013" r:id="rId8"/>
    <p:sldId id="2147475151" r:id="rId9"/>
    <p:sldId id="2147473025" r:id="rId10"/>
    <p:sldId id="2147473029" r:id="rId11"/>
    <p:sldId id="2147473030" r:id="rId12"/>
    <p:sldId id="2147378510" r:id="rId13"/>
    <p:sldId id="2147378508" r:id="rId14"/>
    <p:sldId id="2147472930" r:id="rId15"/>
    <p:sldId id="2147475193" r:id="rId16"/>
    <p:sldId id="2147378386" r:id="rId17"/>
    <p:sldId id="2147471718" r:id="rId18"/>
    <p:sldId id="2147475156" r:id="rId19"/>
    <p:sldId id="2147378154" r:id="rId20"/>
    <p:sldId id="2147378155" r:id="rId21"/>
    <p:sldId id="2147378156" r:id="rId22"/>
    <p:sldId id="2147378157" r:id="rId23"/>
    <p:sldId id="2147473882" r:id="rId24"/>
    <p:sldId id="2147475174" r:id="rId25"/>
    <p:sldId id="2147475173" r:id="rId26"/>
    <p:sldId id="2147475171" r:id="rId27"/>
    <p:sldId id="2147475170" r:id="rId28"/>
    <p:sldId id="370" r:id="rId29"/>
    <p:sldId id="2147475172" r:id="rId30"/>
    <p:sldId id="2147475182" r:id="rId31"/>
    <p:sldId id="2147475181" r:id="rId32"/>
    <p:sldId id="2147475180" r:id="rId33"/>
    <p:sldId id="2147475179" r:id="rId3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BC2B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EC2644B-FBB3-4E70-8177-D39ED5E85D5B}" v="17" dt="2024-11-01T09:06:09.73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showGuides="1">
      <p:cViewPr varScale="1">
        <p:scale>
          <a:sx n="129" d="100"/>
          <a:sy n="129" d="100"/>
        </p:scale>
        <p:origin x="151" y="36"/>
      </p:cViewPr>
      <p:guideLst>
        <p:guide orient="horz" pos="940"/>
        <p:guide pos="2880"/>
        <p:guide orient="horz" pos="172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riman EL HADIDI" userId="4b24840c-84b3-44ac-9131-ca3568cb403b" providerId="ADAL" clId="{DEC2644B-FBB3-4E70-8177-D39ED5E85D5B}"/>
    <pc:docChg chg="custSel modSld delMainMaster">
      <pc:chgData name="Neriman EL HADIDI" userId="4b24840c-84b3-44ac-9131-ca3568cb403b" providerId="ADAL" clId="{DEC2644B-FBB3-4E70-8177-D39ED5E85D5B}" dt="2024-11-01T09:06:09.704" v="16" actId="27918"/>
      <pc:docMkLst>
        <pc:docMk/>
      </pc:docMkLst>
      <pc:sldChg chg="delSp mod">
        <pc:chgData name="Neriman EL HADIDI" userId="4b24840c-84b3-44ac-9131-ca3568cb403b" providerId="ADAL" clId="{DEC2644B-FBB3-4E70-8177-D39ED5E85D5B}" dt="2024-11-01T09:05:30.544" v="12" actId="478"/>
        <pc:sldMkLst>
          <pc:docMk/>
          <pc:sldMk cId="3644918162" sldId="370"/>
        </pc:sldMkLst>
        <pc:spChg chg="del">
          <ac:chgData name="Neriman EL HADIDI" userId="4b24840c-84b3-44ac-9131-ca3568cb403b" providerId="ADAL" clId="{DEC2644B-FBB3-4E70-8177-D39ED5E85D5B}" dt="2024-11-01T09:05:30.544" v="12" actId="478"/>
          <ac:spMkLst>
            <pc:docMk/>
            <pc:sldMk cId="3644918162" sldId="370"/>
            <ac:spMk id="2" creationId="{6F37D498-61D2-430B-0FFE-1D6053FC2C2E}"/>
          </ac:spMkLst>
        </pc:spChg>
        <pc:spChg chg="del">
          <ac:chgData name="Neriman EL HADIDI" userId="4b24840c-84b3-44ac-9131-ca3568cb403b" providerId="ADAL" clId="{DEC2644B-FBB3-4E70-8177-D39ED5E85D5B}" dt="2024-11-01T09:05:30.544" v="12" actId="478"/>
          <ac:spMkLst>
            <pc:docMk/>
            <pc:sldMk cId="3644918162" sldId="370"/>
            <ac:spMk id="3" creationId="{E672400A-1108-3E3C-7422-CBA7B51FF8C8}"/>
          </ac:spMkLst>
        </pc:spChg>
      </pc:sldChg>
      <pc:sldChg chg="modSp mod">
        <pc:chgData name="Neriman EL HADIDI" userId="4b24840c-84b3-44ac-9131-ca3568cb403b" providerId="ADAL" clId="{DEC2644B-FBB3-4E70-8177-D39ED5E85D5B}" dt="2024-11-01T09:06:09.704" v="16" actId="27918"/>
        <pc:sldMkLst>
          <pc:docMk/>
          <pc:sldMk cId="1411033201" sldId="408"/>
        </pc:sldMkLst>
        <pc:graphicFrameChg chg="mod">
          <ac:chgData name="Neriman EL HADIDI" userId="4b24840c-84b3-44ac-9131-ca3568cb403b" providerId="ADAL" clId="{DEC2644B-FBB3-4E70-8177-D39ED5E85D5B}" dt="2024-11-01T09:05:51.351" v="13"/>
          <ac:graphicFrameMkLst>
            <pc:docMk/>
            <pc:sldMk cId="1411033201" sldId="408"/>
            <ac:graphicFrameMk id="16" creationId="{1500463F-9113-F853-0F0E-F384F111BD54}"/>
          </ac:graphicFrameMkLst>
        </pc:graphicFrameChg>
      </pc:sldChg>
      <pc:sldChg chg="modSp">
        <pc:chgData name="Neriman EL HADIDI" userId="4b24840c-84b3-44ac-9131-ca3568cb403b" providerId="ADAL" clId="{DEC2644B-FBB3-4E70-8177-D39ED5E85D5B}" dt="2024-11-01T09:01:17.763" v="4"/>
        <pc:sldMkLst>
          <pc:docMk/>
          <pc:sldMk cId="2693478404" sldId="2147329454"/>
        </pc:sldMkLst>
        <pc:graphicFrameChg chg="mod">
          <ac:chgData name="Neriman EL HADIDI" userId="4b24840c-84b3-44ac-9131-ca3568cb403b" providerId="ADAL" clId="{DEC2644B-FBB3-4E70-8177-D39ED5E85D5B}" dt="2024-11-01T09:01:10.407" v="3"/>
          <ac:graphicFrameMkLst>
            <pc:docMk/>
            <pc:sldMk cId="2693478404" sldId="2147329454"/>
            <ac:graphicFrameMk id="16" creationId="{D7F2F964-1E28-4339-8493-893E64CC273B}"/>
          </ac:graphicFrameMkLst>
        </pc:graphicFrameChg>
        <pc:graphicFrameChg chg="mod">
          <ac:chgData name="Neriman EL HADIDI" userId="4b24840c-84b3-44ac-9131-ca3568cb403b" providerId="ADAL" clId="{DEC2644B-FBB3-4E70-8177-D39ED5E85D5B}" dt="2024-11-01T09:01:17.763" v="4"/>
          <ac:graphicFrameMkLst>
            <pc:docMk/>
            <pc:sldMk cId="2693478404" sldId="2147329454"/>
            <ac:graphicFrameMk id="22" creationId="{B6BC63DB-BB68-E22B-6F46-70632876165B}"/>
          </ac:graphicFrameMkLst>
        </pc:graphicFrameChg>
      </pc:sldChg>
      <pc:sldChg chg="modSp">
        <pc:chgData name="Neriman EL HADIDI" userId="4b24840c-84b3-44ac-9131-ca3568cb403b" providerId="ADAL" clId="{DEC2644B-FBB3-4E70-8177-D39ED5E85D5B}" dt="2024-11-01T09:04:49.391" v="10"/>
        <pc:sldMkLst>
          <pc:docMk/>
          <pc:sldMk cId="1340521327" sldId="2147378386"/>
        </pc:sldMkLst>
        <pc:graphicFrameChg chg="mod">
          <ac:chgData name="Neriman EL HADIDI" userId="4b24840c-84b3-44ac-9131-ca3568cb403b" providerId="ADAL" clId="{DEC2644B-FBB3-4E70-8177-D39ED5E85D5B}" dt="2024-11-01T09:04:49.391" v="10"/>
          <ac:graphicFrameMkLst>
            <pc:docMk/>
            <pc:sldMk cId="1340521327" sldId="2147378386"/>
            <ac:graphicFrameMk id="22" creationId="{BDCCA8F9-9B4E-4C69-981A-F30479D8A570}"/>
          </ac:graphicFrameMkLst>
        </pc:graphicFrameChg>
      </pc:sldChg>
      <pc:sldChg chg="modSp mod">
        <pc:chgData name="Neriman EL HADIDI" userId="4b24840c-84b3-44ac-9131-ca3568cb403b" providerId="ADAL" clId="{DEC2644B-FBB3-4E70-8177-D39ED5E85D5B}" dt="2024-11-01T09:00:54.519" v="2" actId="14100"/>
        <pc:sldMkLst>
          <pc:docMk/>
          <pc:sldMk cId="1380102355" sldId="2147378506"/>
        </pc:sldMkLst>
        <pc:graphicFrameChg chg="mod modGraphic">
          <ac:chgData name="Neriman EL HADIDI" userId="4b24840c-84b3-44ac-9131-ca3568cb403b" providerId="ADAL" clId="{DEC2644B-FBB3-4E70-8177-D39ED5E85D5B}" dt="2024-11-01T09:00:54.519" v="2" actId="14100"/>
          <ac:graphicFrameMkLst>
            <pc:docMk/>
            <pc:sldMk cId="1380102355" sldId="2147378506"/>
            <ac:graphicFrameMk id="3" creationId="{BF02A555-6E65-401F-8EC5-C5F12914697A}"/>
          </ac:graphicFrameMkLst>
        </pc:graphicFrameChg>
      </pc:sldChg>
      <pc:sldChg chg="modSp">
        <pc:chgData name="Neriman EL HADIDI" userId="4b24840c-84b3-44ac-9131-ca3568cb403b" providerId="ADAL" clId="{DEC2644B-FBB3-4E70-8177-D39ED5E85D5B}" dt="2024-11-01T09:03:55.942" v="9"/>
        <pc:sldMkLst>
          <pc:docMk/>
          <pc:sldMk cId="3546637518" sldId="2147378510"/>
        </pc:sldMkLst>
        <pc:graphicFrameChg chg="mod">
          <ac:chgData name="Neriman EL HADIDI" userId="4b24840c-84b3-44ac-9131-ca3568cb403b" providerId="ADAL" clId="{DEC2644B-FBB3-4E70-8177-D39ED5E85D5B}" dt="2024-11-01T09:03:55.942" v="9"/>
          <ac:graphicFrameMkLst>
            <pc:docMk/>
            <pc:sldMk cId="3546637518" sldId="2147378510"/>
            <ac:graphicFrameMk id="6" creationId="{903336ED-9778-D2E5-A3B1-EA932B617DB3}"/>
          </ac:graphicFrameMkLst>
        </pc:graphicFrameChg>
        <pc:graphicFrameChg chg="mod">
          <ac:chgData name="Neriman EL HADIDI" userId="4b24840c-84b3-44ac-9131-ca3568cb403b" providerId="ADAL" clId="{DEC2644B-FBB3-4E70-8177-D39ED5E85D5B}" dt="2024-11-01T09:03:47.948" v="8"/>
          <ac:graphicFrameMkLst>
            <pc:docMk/>
            <pc:sldMk cId="3546637518" sldId="2147378510"/>
            <ac:graphicFrameMk id="20" creationId="{4F1AC2C4-E03E-4D63-9CFE-5DD45DD67548}"/>
          </ac:graphicFrameMkLst>
        </pc:graphicFrameChg>
      </pc:sldChg>
      <pc:sldChg chg="modSp">
        <pc:chgData name="Neriman EL HADIDI" userId="4b24840c-84b3-44ac-9131-ca3568cb403b" providerId="ADAL" clId="{DEC2644B-FBB3-4E70-8177-D39ED5E85D5B}" dt="2024-11-01T09:04:58.900" v="11"/>
        <pc:sldMkLst>
          <pc:docMk/>
          <pc:sldMk cId="2800720980" sldId="2147471718"/>
        </pc:sldMkLst>
        <pc:graphicFrameChg chg="mod">
          <ac:chgData name="Neriman EL HADIDI" userId="4b24840c-84b3-44ac-9131-ca3568cb403b" providerId="ADAL" clId="{DEC2644B-FBB3-4E70-8177-D39ED5E85D5B}" dt="2024-11-01T09:04:58.900" v="11"/>
          <ac:graphicFrameMkLst>
            <pc:docMk/>
            <pc:sldMk cId="2800720980" sldId="2147471718"/>
            <ac:graphicFrameMk id="22" creationId="{BDCCA8F9-9B4E-4C69-981A-F30479D8A570}"/>
          </ac:graphicFrameMkLst>
        </pc:graphicFrameChg>
      </pc:sldChg>
      <pc:sldChg chg="modSp mod">
        <pc:chgData name="Neriman EL HADIDI" userId="4b24840c-84b3-44ac-9131-ca3568cb403b" providerId="ADAL" clId="{DEC2644B-FBB3-4E70-8177-D39ED5E85D5B}" dt="2024-11-01T09:06:06.280" v="15" actId="27918"/>
        <pc:sldMkLst>
          <pc:docMk/>
          <pc:sldMk cId="354591731" sldId="2147473384"/>
        </pc:sldMkLst>
        <pc:graphicFrameChg chg="mod">
          <ac:chgData name="Neriman EL HADIDI" userId="4b24840c-84b3-44ac-9131-ca3568cb403b" providerId="ADAL" clId="{DEC2644B-FBB3-4E70-8177-D39ED5E85D5B}" dt="2024-11-01T09:06:02.513" v="14"/>
          <ac:graphicFrameMkLst>
            <pc:docMk/>
            <pc:sldMk cId="354591731" sldId="2147473384"/>
            <ac:graphicFrameMk id="16" creationId="{1500463F-9113-F853-0F0E-F384F111BD54}"/>
          </ac:graphicFrameMkLst>
        </pc:graphicFrameChg>
      </pc:sldChg>
      <pc:sldChg chg="delSp mod">
        <pc:chgData name="Neriman EL HADIDI" userId="4b24840c-84b3-44ac-9131-ca3568cb403b" providerId="ADAL" clId="{DEC2644B-FBB3-4E70-8177-D39ED5E85D5B}" dt="2024-11-01T09:02:21.352" v="5" actId="478"/>
        <pc:sldMkLst>
          <pc:docMk/>
          <pc:sldMk cId="3548136992" sldId="2147475151"/>
        </pc:sldMkLst>
        <pc:spChg chg="del">
          <ac:chgData name="Neriman EL HADIDI" userId="4b24840c-84b3-44ac-9131-ca3568cb403b" providerId="ADAL" clId="{DEC2644B-FBB3-4E70-8177-D39ED5E85D5B}" dt="2024-11-01T09:02:21.352" v="5" actId="478"/>
          <ac:spMkLst>
            <pc:docMk/>
            <pc:sldMk cId="3548136992" sldId="2147475151"/>
            <ac:spMk id="13" creationId="{07164268-310E-52F7-2DCD-44921744491C}"/>
          </ac:spMkLst>
        </pc:spChg>
      </pc:sldChg>
      <pc:sldMasterChg chg="del">
        <pc:chgData name="Neriman EL HADIDI" userId="4b24840c-84b3-44ac-9131-ca3568cb403b" providerId="ADAL" clId="{DEC2644B-FBB3-4E70-8177-D39ED5E85D5B}" dt="2024-11-01T09:00:26.894" v="0" actId="2696"/>
        <pc:sldMasterMkLst>
          <pc:docMk/>
          <pc:sldMasterMk cId="823099819" sldId="2147483792"/>
        </pc:sldMasterMkLst>
      </pc:sldMasterChg>
      <pc:sldMasterChg chg="del">
        <pc:chgData name="Neriman EL HADIDI" userId="4b24840c-84b3-44ac-9131-ca3568cb403b" providerId="ADAL" clId="{DEC2644B-FBB3-4E70-8177-D39ED5E85D5B}" dt="2024-11-01T09:00:36.050" v="1" actId="2696"/>
        <pc:sldMasterMkLst>
          <pc:docMk/>
          <pc:sldMasterMk cId="2323846169" sldId="2147483844"/>
        </pc:sldMasterMkLst>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4.xml"/><Relationship Id="rId1" Type="http://schemas.microsoft.com/office/2011/relationships/chartStyle" Target="style4.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5.xml"/><Relationship Id="rId1" Type="http://schemas.microsoft.com/office/2011/relationships/chartStyle" Target="style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6.xml"/><Relationship Id="rId1" Type="http://schemas.microsoft.com/office/2011/relationships/chartStyle" Target="style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7.xml"/><Relationship Id="rId1" Type="http://schemas.microsoft.com/office/2011/relationships/chartStyle" Target="style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8.xml"/><Relationship Id="rId1" Type="http://schemas.microsoft.com/office/2011/relationships/chartStyle" Target="style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9.xml"/><Relationship Id="rId1" Type="http://schemas.microsoft.com/office/2011/relationships/chartStyle" Target="style9.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0.xml"/><Relationship Id="rId1" Type="http://schemas.microsoft.com/office/2011/relationships/chartStyle" Target="style1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1.xml"/><Relationship Id="rId1" Type="http://schemas.microsoft.com/office/2011/relationships/chartStyle" Target="style1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2.xml"/><Relationship Id="rId1" Type="http://schemas.microsoft.com/office/2011/relationships/chartStyle" Target="style1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13.xml"/><Relationship Id="rId1" Type="http://schemas.microsoft.com/office/2011/relationships/chartStyle" Target="style1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14.xml"/><Relationship Id="rId1" Type="http://schemas.microsoft.com/office/2011/relationships/chartStyle" Target="style1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15.xml"/><Relationship Id="rId1" Type="http://schemas.microsoft.com/office/2011/relationships/chartStyle" Target="style15.xml"/></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1.xml"/><Relationship Id="rId1" Type="http://schemas.microsoft.com/office/2011/relationships/chartStyle" Target="style1.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2.xml"/><Relationship Id="rId1" Type="http://schemas.microsoft.com/office/2011/relationships/chartStyle" Target="style2.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16.xml"/><Relationship Id="rId1" Type="http://schemas.microsoft.com/office/2011/relationships/chartStyle" Target="style16.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17.xml"/><Relationship Id="rId1" Type="http://schemas.microsoft.com/office/2011/relationships/chartStyle" Target="style17.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18.xml"/><Relationship Id="rId1" Type="http://schemas.microsoft.com/office/2011/relationships/chartStyle" Target="style18.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19.xml"/><Relationship Id="rId1" Type="http://schemas.microsoft.com/office/2011/relationships/chartStyle" Target="style19.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20.xml"/><Relationship Id="rId1" Type="http://schemas.microsoft.com/office/2011/relationships/chartStyle" Target="style20.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21.xml"/><Relationship Id="rId1" Type="http://schemas.microsoft.com/office/2011/relationships/chartStyle" Target="style21.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22.xml"/><Relationship Id="rId1" Type="http://schemas.microsoft.com/office/2011/relationships/chartStyle" Target="style22.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23.xml"/><Relationship Id="rId1" Type="http://schemas.microsoft.com/office/2011/relationships/chartStyle" Target="style23.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24.xml"/><Relationship Id="rId1" Type="http://schemas.microsoft.com/office/2011/relationships/chartStyle" Target="style24.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25.xml"/><Relationship Id="rId1" Type="http://schemas.microsoft.com/office/2011/relationships/chartStyle" Target="style25.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89372756328472E-2"/>
          <c:y val="3.7948661595622463E-2"/>
          <c:w val="0.93691511195956778"/>
          <c:h val="0.78210123658438346"/>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Private Label</c:v>
                </c:pt>
                <c:pt idx="1">
                  <c:v>Gerolsteiner</c:v>
                </c:pt>
                <c:pt idx="2">
                  <c:v>Volvic</c:v>
                </c:pt>
                <c:pt idx="3">
                  <c:v>Adelholzener</c:v>
                </c:pt>
                <c:pt idx="4">
                  <c:v>Vittel</c:v>
                </c:pt>
                <c:pt idx="5">
                  <c:v>Rosbacher</c:v>
                </c:pt>
                <c:pt idx="6">
                  <c:v>Frankenbrunnen</c:v>
                </c:pt>
                <c:pt idx="7">
                  <c:v>Vilsa</c:v>
                </c:pt>
                <c:pt idx="8">
                  <c:v>Staatl Fachingen</c:v>
                </c:pt>
                <c:pt idx="9">
                  <c:v>Elisabethen</c:v>
                </c:pt>
                <c:pt idx="10">
                  <c:v>Rhoen Sprudel</c:v>
                </c:pt>
                <c:pt idx="11">
                  <c:v>Vio</c:v>
                </c:pt>
              </c:strCache>
            </c:strRef>
          </c:cat>
          <c:val>
            <c:numRef>
              <c:f>Sheet1!$B$2:$B$13</c:f>
              <c:numCache>
                <c:formatCode>General</c:formatCode>
                <c:ptCount val="12"/>
                <c:pt idx="0">
                  <c:v>0.14887630398893711</c:v>
                </c:pt>
                <c:pt idx="1">
                  <c:v>0.14753507602507279</c:v>
                </c:pt>
                <c:pt idx="2">
                  <c:v>7.5169440447029987E-2</c:v>
                </c:pt>
                <c:pt idx="3">
                  <c:v>4.1742361940454768E-2</c:v>
                </c:pt>
                <c:pt idx="4">
                  <c:v>3.0456510717473014E-2</c:v>
                </c:pt>
                <c:pt idx="5">
                  <c:v>1.8965164593235755E-2</c:v>
                </c:pt>
                <c:pt idx="6">
                  <c:v>1.6475895117738282E-2</c:v>
                </c:pt>
                <c:pt idx="7">
                  <c:v>1.4455972273459553E-2</c:v>
                </c:pt>
                <c:pt idx="8">
                  <c:v>1.4356859550613872E-2</c:v>
                </c:pt>
                <c:pt idx="9">
                  <c:v>1.4154421307888014E-2</c:v>
                </c:pt>
                <c:pt idx="10">
                  <c:v>1.3893394204016671E-2</c:v>
                </c:pt>
                <c:pt idx="11">
                  <c:v>1.143350298583968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Feature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Private Label</c:v>
                </c:pt>
                <c:pt idx="1">
                  <c:v>Gerolsteiner</c:v>
                </c:pt>
                <c:pt idx="2">
                  <c:v>Volvic</c:v>
                </c:pt>
                <c:pt idx="3">
                  <c:v>Adelholzener</c:v>
                </c:pt>
                <c:pt idx="4">
                  <c:v>Vittel</c:v>
                </c:pt>
                <c:pt idx="5">
                  <c:v>Rosbacher</c:v>
                </c:pt>
                <c:pt idx="6">
                  <c:v>Frankenbrunnen</c:v>
                </c:pt>
                <c:pt idx="7">
                  <c:v>Vilsa</c:v>
                </c:pt>
                <c:pt idx="8">
                  <c:v>Staatl Fachingen</c:v>
                </c:pt>
                <c:pt idx="9">
                  <c:v>Elisabethen</c:v>
                </c:pt>
                <c:pt idx="10">
                  <c:v>Rhoen Sprudel</c:v>
                </c:pt>
                <c:pt idx="11">
                  <c:v>Vio</c:v>
                </c:pt>
              </c:strCache>
            </c:strRef>
          </c:cat>
          <c:val>
            <c:numRef>
              <c:f>Sheet1!$C$2:$C$13</c:f>
              <c:numCache>
                <c:formatCode>General</c:formatCode>
                <c:ptCount val="12"/>
                <c:pt idx="0">
                  <c:v>9.1800439710634212E-3</c:v>
                </c:pt>
                <c:pt idx="1">
                  <c:v>0.2370275409572378</c:v>
                </c:pt>
                <c:pt idx="2">
                  <c:v>0.13304385637228747</c:v>
                </c:pt>
                <c:pt idx="3">
                  <c:v>5.7237173123776117E-2</c:v>
                </c:pt>
                <c:pt idx="4">
                  <c:v>0.10331603365087226</c:v>
                </c:pt>
                <c:pt idx="5">
                  <c:v>4.3563005891645391E-2</c:v>
                </c:pt>
                <c:pt idx="6">
                  <c:v>2.8912250554856692E-2</c:v>
                </c:pt>
                <c:pt idx="7">
                  <c:v>1.2316292813085248E-2</c:v>
                </c:pt>
                <c:pt idx="8">
                  <c:v>1.313011026521714E-2</c:v>
                </c:pt>
                <c:pt idx="9">
                  <c:v>2.5815096034049897E-2</c:v>
                </c:pt>
                <c:pt idx="10">
                  <c:v>1.9127019902252872E-2</c:v>
                </c:pt>
                <c:pt idx="11">
                  <c:v>1.7855771079084613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0" vert="horz"/>
          <a:lstStyle/>
          <a:p>
            <a:pPr>
              <a:defRPr/>
            </a:pPr>
            <a:endParaRPr lang="en-US"/>
          </a:p>
        </c:txPr>
        <c:crossAx val="1433501040"/>
        <c:crosses val="autoZero"/>
        <c:auto val="1"/>
        <c:lblAlgn val="ctr"/>
        <c:lblOffset val="100"/>
        <c:noMultiLvlLbl val="0"/>
      </c:catAx>
      <c:valAx>
        <c:axId val="1433501040"/>
        <c:scaling>
          <c:orientation val="minMax"/>
        </c:scaling>
        <c:delete val="1"/>
        <c:axPos val="l"/>
        <c:numFmt formatCode="0%" sourceLinked="0"/>
        <c:majorTickMark val="out"/>
        <c:minorTickMark val="none"/>
        <c:tickLblPos val="nextTo"/>
        <c:crossAx val="1837882976"/>
        <c:crosses val="autoZero"/>
        <c:crossBetween val="between"/>
      </c:valAx>
      <c:spPr>
        <a:noFill/>
        <a:ln>
          <a:noFill/>
        </a:ln>
        <a:effectLst/>
      </c:spPr>
    </c:plotArea>
    <c:legend>
      <c:legendPos val="b"/>
      <c:layout>
        <c:manualLayout>
          <c:xMode val="edge"/>
          <c:yMode val="edge"/>
          <c:x val="0.31018634592872957"/>
          <c:y val="0.9195782501361186"/>
          <c:w val="0.34355071262700604"/>
          <c:h val="8.0421749863881425E-2"/>
        </c:manualLayout>
      </c:layou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893728980341809E-2"/>
          <c:y val="4.1660304546965121E-2"/>
          <c:w val="0.93691511195956778"/>
          <c:h val="0.7820524939432844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Private Label</c:v>
                </c:pt>
                <c:pt idx="1">
                  <c:v>Gerolsteiner</c:v>
                </c:pt>
                <c:pt idx="2">
                  <c:v>Volvic</c:v>
                </c:pt>
                <c:pt idx="3">
                  <c:v>Adelholzener</c:v>
                </c:pt>
                <c:pt idx="4">
                  <c:v>Vittel</c:v>
                </c:pt>
                <c:pt idx="5">
                  <c:v>Rosbacher</c:v>
                </c:pt>
                <c:pt idx="6">
                  <c:v>Frankenbrunnen</c:v>
                </c:pt>
                <c:pt idx="7">
                  <c:v>Vilsa</c:v>
                </c:pt>
                <c:pt idx="8">
                  <c:v>Staatl Fachingen</c:v>
                </c:pt>
                <c:pt idx="9">
                  <c:v>Elisabethen</c:v>
                </c:pt>
                <c:pt idx="10">
                  <c:v>Rhoen Sprudel</c:v>
                </c:pt>
                <c:pt idx="11">
                  <c:v>Vio</c:v>
                </c:pt>
              </c:strCache>
            </c:strRef>
          </c:cat>
          <c:val>
            <c:numRef>
              <c:f>Sheet1!$B$2:$B$13</c:f>
              <c:numCache>
                <c:formatCode>General</c:formatCode>
                <c:ptCount val="12"/>
                <c:pt idx="0">
                  <c:v>0.14887630398893711</c:v>
                </c:pt>
                <c:pt idx="1">
                  <c:v>0.14753507602507279</c:v>
                </c:pt>
                <c:pt idx="2">
                  <c:v>7.5169440447029987E-2</c:v>
                </c:pt>
                <c:pt idx="3">
                  <c:v>4.1742361940454768E-2</c:v>
                </c:pt>
                <c:pt idx="4">
                  <c:v>3.0456510717473014E-2</c:v>
                </c:pt>
                <c:pt idx="5">
                  <c:v>1.8965164593235755E-2</c:v>
                </c:pt>
                <c:pt idx="6">
                  <c:v>1.6475895117738282E-2</c:v>
                </c:pt>
                <c:pt idx="7">
                  <c:v>1.4455972273459553E-2</c:v>
                </c:pt>
                <c:pt idx="8">
                  <c:v>1.4356859550613872E-2</c:v>
                </c:pt>
                <c:pt idx="9">
                  <c:v>1.4154421307888014E-2</c:v>
                </c:pt>
                <c:pt idx="10">
                  <c:v>1.3893394204016671E-2</c:v>
                </c:pt>
                <c:pt idx="11">
                  <c:v>1.143350298583968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Display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Private Label</c:v>
                </c:pt>
                <c:pt idx="1">
                  <c:v>Gerolsteiner</c:v>
                </c:pt>
                <c:pt idx="2">
                  <c:v>Volvic</c:v>
                </c:pt>
                <c:pt idx="3">
                  <c:v>Adelholzener</c:v>
                </c:pt>
                <c:pt idx="4">
                  <c:v>Vittel</c:v>
                </c:pt>
                <c:pt idx="5">
                  <c:v>Rosbacher</c:v>
                </c:pt>
                <c:pt idx="6">
                  <c:v>Frankenbrunnen</c:v>
                </c:pt>
                <c:pt idx="7">
                  <c:v>Vilsa</c:v>
                </c:pt>
                <c:pt idx="8">
                  <c:v>Staatl Fachingen</c:v>
                </c:pt>
                <c:pt idx="9">
                  <c:v>Elisabethen</c:v>
                </c:pt>
                <c:pt idx="10">
                  <c:v>Rhoen Sprudel</c:v>
                </c:pt>
                <c:pt idx="11">
                  <c:v>Vio</c:v>
                </c:pt>
              </c:strCache>
            </c:strRef>
          </c:cat>
          <c:val>
            <c:numRef>
              <c:f>Sheet1!$C$2:$C$13</c:f>
              <c:numCache>
                <c:formatCode>General</c:formatCode>
                <c:ptCount val="12"/>
                <c:pt idx="0">
                  <c:v>9.1800439710634212E-3</c:v>
                </c:pt>
                <c:pt idx="1">
                  <c:v>0.2370275409572378</c:v>
                </c:pt>
                <c:pt idx="2">
                  <c:v>0.13304385637228747</c:v>
                </c:pt>
                <c:pt idx="3">
                  <c:v>5.7237173123776117E-2</c:v>
                </c:pt>
                <c:pt idx="4">
                  <c:v>0.10331603365087226</c:v>
                </c:pt>
                <c:pt idx="5">
                  <c:v>4.3563005891645391E-2</c:v>
                </c:pt>
                <c:pt idx="6">
                  <c:v>2.8912250554856692E-2</c:v>
                </c:pt>
                <c:pt idx="7">
                  <c:v>1.2316292813085248E-2</c:v>
                </c:pt>
                <c:pt idx="8">
                  <c:v>1.313011026521714E-2</c:v>
                </c:pt>
                <c:pt idx="9">
                  <c:v>2.5815096034049897E-2</c:v>
                </c:pt>
                <c:pt idx="10">
                  <c:v>1.9127019902252872E-2</c:v>
                </c:pt>
                <c:pt idx="11">
                  <c:v>1.7855771079084613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0" vert="horz"/>
          <a:lstStyle/>
          <a:p>
            <a:pPr>
              <a:defRPr/>
            </a:pPr>
            <a:endParaRPr lang="en-US"/>
          </a:p>
        </c:txPr>
        <c:crossAx val="1433501040"/>
        <c:crosses val="autoZero"/>
        <c:auto val="1"/>
        <c:lblAlgn val="ctr"/>
        <c:lblOffset val="100"/>
        <c:noMultiLvlLbl val="0"/>
      </c:catAx>
      <c:valAx>
        <c:axId val="1433501040"/>
        <c:scaling>
          <c:orientation val="minMax"/>
        </c:scaling>
        <c:delete val="1"/>
        <c:axPos val="l"/>
        <c:numFmt formatCode="0%" sourceLinked="0"/>
        <c:majorTickMark val="out"/>
        <c:minorTickMark val="none"/>
        <c:tickLblPos val="nextTo"/>
        <c:crossAx val="1837882976"/>
        <c:crosses val="autoZero"/>
        <c:crossBetween val="between"/>
      </c:valAx>
      <c:spPr>
        <a:noFill/>
        <a:ln>
          <a:noFill/>
        </a:ln>
        <a:effectLst/>
      </c:spPr>
    </c:plotArea>
    <c:legend>
      <c:legendPos val="b"/>
      <c:layout>
        <c:manualLayout>
          <c:xMode val="edge"/>
          <c:yMode val="edge"/>
          <c:x val="0.36596513476788334"/>
          <c:y val="0.92935175768467493"/>
          <c:w val="0.26493263520201288"/>
          <c:h val="6.3586476328904809E-2"/>
        </c:manualLayout>
      </c:layou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72A7-4D08-96D7-E73109FBDC9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1-E3C4-46BC-AA3D-A3795B7CC7B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72A7-4D08-96D7-E73109FBDC9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38621105571207E-2"/>
          <c:y val="0.22640674019619741"/>
          <c:w val="0.96604631207450631"/>
          <c:h val="0.76380960518739549"/>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0-2A09-4FFC-9D4D-9CC3F6B2DEDD}"/>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1-2A09-4FFC-9D4D-9CC3F6B2DEDD}"/>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11845961320117E-2"/>
          <c:y val="0"/>
          <c:w val="0.96437630807735975"/>
          <c:h val="0.85225155098855032"/>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0810</c:v>
                </c:pt>
                <c:pt idx="1">
                  <c:v>10089</c:v>
                </c:pt>
                <c:pt idx="2">
                  <c:v>5121</c:v>
                </c:pt>
                <c:pt idx="3">
                  <c:v>7276</c:v>
                </c:pt>
                <c:pt idx="4">
                  <c:v>8916</c:v>
                </c:pt>
                <c:pt idx="5">
                  <c:v>9411</c:v>
                </c:pt>
                <c:pt idx="6">
                  <c:v>8041</c:v>
                </c:pt>
                <c:pt idx="7">
                  <c:v>8669</c:v>
                </c:pt>
                <c:pt idx="8">
                  <c:v>11931</c:v>
                </c:pt>
                <c:pt idx="9">
                  <c:v>8121</c:v>
                </c:pt>
                <c:pt idx="10">
                  <c:v>4572</c:v>
                </c:pt>
                <c:pt idx="11">
                  <c:v>8127</c:v>
                </c:pt>
                <c:pt idx="12">
                  <c:v>9262</c:v>
                </c:pt>
                <c:pt idx="13">
                  <c:v>8141</c:v>
                </c:pt>
                <c:pt idx="14">
                  <c:v>9018</c:v>
                </c:pt>
                <c:pt idx="15">
                  <c:v>9003</c:v>
                </c:pt>
                <c:pt idx="16">
                  <c:v>6797</c:v>
                </c:pt>
                <c:pt idx="17">
                  <c:v>4823</c:v>
                </c:pt>
                <c:pt idx="18">
                  <c:v>8083</c:v>
                </c:pt>
                <c:pt idx="19">
                  <c:v>11032</c:v>
                </c:pt>
                <c:pt idx="20">
                  <c:v>10107</c:v>
                </c:pt>
                <c:pt idx="21">
                  <c:v>8418</c:v>
                </c:pt>
                <c:pt idx="22">
                  <c:v>5994</c:v>
                </c:pt>
                <c:pt idx="23">
                  <c:v>7599</c:v>
                </c:pt>
                <c:pt idx="24">
                  <c:v>5115</c:v>
                </c:pt>
                <c:pt idx="25">
                  <c:v>3805</c:v>
                </c:pt>
                <c:pt idx="26">
                  <c:v>6006</c:v>
                </c:pt>
                <c:pt idx="27">
                  <c:v>7379</c:v>
                </c:pt>
                <c:pt idx="28">
                  <c:v>7123</c:v>
                </c:pt>
                <c:pt idx="29">
                  <c:v>7142</c:v>
                </c:pt>
                <c:pt idx="30">
                  <c:v>6877</c:v>
                </c:pt>
                <c:pt idx="31">
                  <c:v>6220</c:v>
                </c:pt>
                <c:pt idx="32">
                  <c:v>5853</c:v>
                </c:pt>
                <c:pt idx="33">
                  <c:v>6009</c:v>
                </c:pt>
                <c:pt idx="34">
                  <c:v>5303</c:v>
                </c:pt>
                <c:pt idx="35">
                  <c:v>5357</c:v>
                </c:pt>
                <c:pt idx="36">
                  <c:v>4769</c:v>
                </c:pt>
                <c:pt idx="37">
                  <c:v>2497</c:v>
                </c:pt>
                <c:pt idx="38">
                  <c:v>3398</c:v>
                </c:pt>
                <c:pt idx="39">
                  <c:v>3621</c:v>
                </c:pt>
                <c:pt idx="40">
                  <c:v>3879</c:v>
                </c:pt>
                <c:pt idx="41">
                  <c:v>4732</c:v>
                </c:pt>
                <c:pt idx="42">
                  <c:v>7308</c:v>
                </c:pt>
                <c:pt idx="43">
                  <c:v>9036</c:v>
                </c:pt>
                <c:pt idx="44">
                  <c:v>10084</c:v>
                </c:pt>
                <c:pt idx="45">
                  <c:v>9083</c:v>
                </c:pt>
                <c:pt idx="46">
                  <c:v>5482</c:v>
                </c:pt>
                <c:pt idx="47">
                  <c:v>3778</c:v>
                </c:pt>
                <c:pt idx="48">
                  <c:v>7809</c:v>
                </c:pt>
                <c:pt idx="49">
                  <c:v>7739</c:v>
                </c:pt>
                <c:pt idx="50">
                  <c:v>7596</c:v>
                </c:pt>
                <c:pt idx="51">
                  <c:v>6196</c:v>
                </c:pt>
                <c:pt idx="52">
                  <c:v>5910</c:v>
                </c:pt>
                <c:pt idx="53">
                  <c:v>3695</c:v>
                </c:pt>
                <c:pt idx="54">
                  <c:v>6430</c:v>
                </c:pt>
                <c:pt idx="55">
                  <c:v>8035</c:v>
                </c:pt>
                <c:pt idx="56">
                  <c:v>7611</c:v>
                </c:pt>
                <c:pt idx="57">
                  <c:v>9039</c:v>
                </c:pt>
                <c:pt idx="58">
                  <c:v>8087</c:v>
                </c:pt>
                <c:pt idx="59">
                  <c:v>8932</c:v>
                </c:pt>
                <c:pt idx="60">
                  <c:v>8868</c:v>
                </c:pt>
                <c:pt idx="61">
                  <c:v>13093</c:v>
                </c:pt>
                <c:pt idx="62">
                  <c:v>8128</c:v>
                </c:pt>
                <c:pt idx="63">
                  <c:v>4890</c:v>
                </c:pt>
                <c:pt idx="64">
                  <c:v>6845</c:v>
                </c:pt>
                <c:pt idx="65">
                  <c:v>8260</c:v>
                </c:pt>
                <c:pt idx="66">
                  <c:v>8951</c:v>
                </c:pt>
                <c:pt idx="67">
                  <c:v>9377</c:v>
                </c:pt>
                <c:pt idx="68">
                  <c:v>7130</c:v>
                </c:pt>
                <c:pt idx="69">
                  <c:v>4881</c:v>
                </c:pt>
                <c:pt idx="70">
                  <c:v>8326</c:v>
                </c:pt>
                <c:pt idx="71">
                  <c:v>6489</c:v>
                </c:pt>
                <c:pt idx="72">
                  <c:v>6081</c:v>
                </c:pt>
                <c:pt idx="73">
                  <c:v>7404</c:v>
                </c:pt>
                <c:pt idx="74">
                  <c:v>7204</c:v>
                </c:pt>
                <c:pt idx="75">
                  <c:v>8013</c:v>
                </c:pt>
                <c:pt idx="76">
                  <c:v>6689</c:v>
                </c:pt>
                <c:pt idx="77">
                  <c:v>6812</c:v>
                </c:pt>
                <c:pt idx="78">
                  <c:v>6117</c:v>
                </c:pt>
                <c:pt idx="79">
                  <c:v>6225</c:v>
                </c:pt>
                <c:pt idx="80">
                  <c:v>3929</c:v>
                </c:pt>
                <c:pt idx="81">
                  <c:v>2740</c:v>
                </c:pt>
                <c:pt idx="82">
                  <c:v>4127</c:v>
                </c:pt>
                <c:pt idx="83">
                  <c:v>4589</c:v>
                </c:pt>
                <c:pt idx="84">
                  <c:v>4916</c:v>
                </c:pt>
                <c:pt idx="85">
                  <c:v>5241</c:v>
                </c:pt>
                <c:pt idx="86">
                  <c:v>5137</c:v>
                </c:pt>
                <c:pt idx="87">
                  <c:v>5001</c:v>
                </c:pt>
                <c:pt idx="88">
                  <c:v>4319</c:v>
                </c:pt>
                <c:pt idx="89">
                  <c:v>4010</c:v>
                </c:pt>
                <c:pt idx="90">
                  <c:v>2753</c:v>
                </c:pt>
                <c:pt idx="91">
                  <c:v>1734</c:v>
                </c:pt>
                <c:pt idx="92">
                  <c:v>3341</c:v>
                </c:pt>
                <c:pt idx="93">
                  <c:v>5772</c:v>
                </c:pt>
                <c:pt idx="94">
                  <c:v>5197</c:v>
                </c:pt>
                <c:pt idx="95">
                  <c:v>3434</c:v>
                </c:pt>
                <c:pt idx="96">
                  <c:v>7685</c:v>
                </c:pt>
                <c:pt idx="97">
                  <c:v>4914</c:v>
                </c:pt>
                <c:pt idx="98">
                  <c:v>2971</c:v>
                </c:pt>
                <c:pt idx="99">
                  <c:v>5204</c:v>
                </c:pt>
                <c:pt idx="100">
                  <c:v>5523</c:v>
                </c:pt>
                <c:pt idx="101">
                  <c:v>5494</c:v>
                </c:pt>
                <c:pt idx="102">
                  <c:v>5440</c:v>
                </c:pt>
                <c:pt idx="103">
                  <c:v>9116</c:v>
                </c:pt>
              </c:numCache>
            </c:numRef>
          </c:val>
          <c:extLst>
            <c:ext xmlns:c16="http://schemas.microsoft.com/office/drawing/2014/chart" uri="{C3380CC4-5D6E-409C-BE32-E72D297353CC}">
              <c16:uniqueId val="{00000000-7F1C-42D6-AB69-34F16F98F945}"/>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0</c:v>
                </c:pt>
                <c:pt idx="1">
                  <c:v>1916</c:v>
                </c:pt>
                <c:pt idx="2">
                  <c:v>37396</c:v>
                </c:pt>
                <c:pt idx="3">
                  <c:v>12228</c:v>
                </c:pt>
                <c:pt idx="4">
                  <c:v>142</c:v>
                </c:pt>
                <c:pt idx="5">
                  <c:v>1</c:v>
                </c:pt>
                <c:pt idx="6">
                  <c:v>0</c:v>
                </c:pt>
                <c:pt idx="7">
                  <c:v>0</c:v>
                </c:pt>
                <c:pt idx="8">
                  <c:v>0</c:v>
                </c:pt>
                <c:pt idx="9">
                  <c:v>40819</c:v>
                </c:pt>
                <c:pt idx="10">
                  <c:v>42168</c:v>
                </c:pt>
                <c:pt idx="11">
                  <c:v>6578</c:v>
                </c:pt>
                <c:pt idx="12">
                  <c:v>17192</c:v>
                </c:pt>
                <c:pt idx="13">
                  <c:v>21303</c:v>
                </c:pt>
                <c:pt idx="14">
                  <c:v>7461</c:v>
                </c:pt>
                <c:pt idx="15">
                  <c:v>43</c:v>
                </c:pt>
                <c:pt idx="16">
                  <c:v>35829</c:v>
                </c:pt>
                <c:pt idx="17">
                  <c:v>44812</c:v>
                </c:pt>
                <c:pt idx="18">
                  <c:v>14043</c:v>
                </c:pt>
                <c:pt idx="19">
                  <c:v>60</c:v>
                </c:pt>
                <c:pt idx="20">
                  <c:v>1</c:v>
                </c:pt>
                <c:pt idx="21">
                  <c:v>18875</c:v>
                </c:pt>
                <c:pt idx="22">
                  <c:v>19234</c:v>
                </c:pt>
                <c:pt idx="23">
                  <c:v>2616</c:v>
                </c:pt>
                <c:pt idx="24">
                  <c:v>20182</c:v>
                </c:pt>
                <c:pt idx="25">
                  <c:v>31984</c:v>
                </c:pt>
                <c:pt idx="26">
                  <c:v>10227</c:v>
                </c:pt>
                <c:pt idx="27">
                  <c:v>18</c:v>
                </c:pt>
                <c:pt idx="28">
                  <c:v>2</c:v>
                </c:pt>
                <c:pt idx="29">
                  <c:v>6</c:v>
                </c:pt>
                <c:pt idx="30">
                  <c:v>0</c:v>
                </c:pt>
                <c:pt idx="31">
                  <c:v>0</c:v>
                </c:pt>
                <c:pt idx="32">
                  <c:v>0</c:v>
                </c:pt>
                <c:pt idx="33">
                  <c:v>8404</c:v>
                </c:pt>
                <c:pt idx="34">
                  <c:v>9887</c:v>
                </c:pt>
                <c:pt idx="35">
                  <c:v>3098</c:v>
                </c:pt>
                <c:pt idx="36">
                  <c:v>843</c:v>
                </c:pt>
                <c:pt idx="37">
                  <c:v>19596</c:v>
                </c:pt>
                <c:pt idx="38">
                  <c:v>7044</c:v>
                </c:pt>
                <c:pt idx="39">
                  <c:v>13</c:v>
                </c:pt>
                <c:pt idx="40">
                  <c:v>7657</c:v>
                </c:pt>
                <c:pt idx="41">
                  <c:v>13687</c:v>
                </c:pt>
                <c:pt idx="42">
                  <c:v>5078</c:v>
                </c:pt>
                <c:pt idx="43">
                  <c:v>39</c:v>
                </c:pt>
                <c:pt idx="44">
                  <c:v>2</c:v>
                </c:pt>
                <c:pt idx="45">
                  <c:v>5</c:v>
                </c:pt>
                <c:pt idx="46">
                  <c:v>41369</c:v>
                </c:pt>
                <c:pt idx="47">
                  <c:v>45452</c:v>
                </c:pt>
                <c:pt idx="48">
                  <c:v>446</c:v>
                </c:pt>
                <c:pt idx="49">
                  <c:v>13</c:v>
                </c:pt>
                <c:pt idx="50">
                  <c:v>1</c:v>
                </c:pt>
                <c:pt idx="51">
                  <c:v>14926</c:v>
                </c:pt>
                <c:pt idx="52">
                  <c:v>19078</c:v>
                </c:pt>
                <c:pt idx="53">
                  <c:v>29930</c:v>
                </c:pt>
                <c:pt idx="54">
                  <c:v>9386</c:v>
                </c:pt>
                <c:pt idx="55">
                  <c:v>185</c:v>
                </c:pt>
                <c:pt idx="56">
                  <c:v>2043</c:v>
                </c:pt>
                <c:pt idx="57">
                  <c:v>759</c:v>
                </c:pt>
                <c:pt idx="58">
                  <c:v>3</c:v>
                </c:pt>
                <c:pt idx="59">
                  <c:v>1367</c:v>
                </c:pt>
                <c:pt idx="60">
                  <c:v>3691</c:v>
                </c:pt>
                <c:pt idx="61">
                  <c:v>143</c:v>
                </c:pt>
                <c:pt idx="62">
                  <c:v>25495</c:v>
                </c:pt>
                <c:pt idx="63">
                  <c:v>32467</c:v>
                </c:pt>
                <c:pt idx="64">
                  <c:v>9174</c:v>
                </c:pt>
                <c:pt idx="65">
                  <c:v>96</c:v>
                </c:pt>
                <c:pt idx="66">
                  <c:v>27</c:v>
                </c:pt>
                <c:pt idx="67">
                  <c:v>24</c:v>
                </c:pt>
                <c:pt idx="68">
                  <c:v>40521</c:v>
                </c:pt>
                <c:pt idx="69">
                  <c:v>50190</c:v>
                </c:pt>
                <c:pt idx="70">
                  <c:v>1098</c:v>
                </c:pt>
                <c:pt idx="71">
                  <c:v>10923</c:v>
                </c:pt>
                <c:pt idx="72">
                  <c:v>14964</c:v>
                </c:pt>
                <c:pt idx="73">
                  <c:v>1998</c:v>
                </c:pt>
                <c:pt idx="74">
                  <c:v>15</c:v>
                </c:pt>
                <c:pt idx="75">
                  <c:v>42</c:v>
                </c:pt>
                <c:pt idx="76">
                  <c:v>845</c:v>
                </c:pt>
                <c:pt idx="77">
                  <c:v>24891</c:v>
                </c:pt>
                <c:pt idx="78">
                  <c:v>6259</c:v>
                </c:pt>
                <c:pt idx="79">
                  <c:v>15</c:v>
                </c:pt>
                <c:pt idx="80">
                  <c:v>18834</c:v>
                </c:pt>
                <c:pt idx="81">
                  <c:v>24637</c:v>
                </c:pt>
                <c:pt idx="82">
                  <c:v>16167</c:v>
                </c:pt>
                <c:pt idx="83">
                  <c:v>9715</c:v>
                </c:pt>
                <c:pt idx="84">
                  <c:v>2894</c:v>
                </c:pt>
                <c:pt idx="85">
                  <c:v>6</c:v>
                </c:pt>
                <c:pt idx="86">
                  <c:v>0</c:v>
                </c:pt>
                <c:pt idx="87">
                  <c:v>0</c:v>
                </c:pt>
                <c:pt idx="88">
                  <c:v>0</c:v>
                </c:pt>
                <c:pt idx="89">
                  <c:v>0</c:v>
                </c:pt>
                <c:pt idx="90">
                  <c:v>10681</c:v>
                </c:pt>
                <c:pt idx="91">
                  <c:v>13812</c:v>
                </c:pt>
                <c:pt idx="92">
                  <c:v>4483</c:v>
                </c:pt>
                <c:pt idx="93">
                  <c:v>17</c:v>
                </c:pt>
                <c:pt idx="94">
                  <c:v>38881</c:v>
                </c:pt>
                <c:pt idx="95">
                  <c:v>41220</c:v>
                </c:pt>
                <c:pt idx="96">
                  <c:v>398</c:v>
                </c:pt>
                <c:pt idx="97">
                  <c:v>22261</c:v>
                </c:pt>
                <c:pt idx="98">
                  <c:v>25702</c:v>
                </c:pt>
                <c:pt idx="99">
                  <c:v>3715</c:v>
                </c:pt>
                <c:pt idx="100">
                  <c:v>10</c:v>
                </c:pt>
                <c:pt idx="101">
                  <c:v>2</c:v>
                </c:pt>
                <c:pt idx="102">
                  <c:v>0</c:v>
                </c:pt>
                <c:pt idx="103">
                  <c:v>0</c:v>
                </c:pt>
              </c:numCache>
            </c:numRef>
          </c:val>
          <c:extLst>
            <c:ext xmlns:c16="http://schemas.microsoft.com/office/drawing/2014/chart" uri="{C3380CC4-5D6E-409C-BE32-E72D297353CC}">
              <c16:uniqueId val="{00000001-7F1C-42D6-AB69-34F16F98F945}"/>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4E00-47D8-B98F-F888755F1F0E}"/>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4E00-47D8-B98F-F888755F1F0E}"/>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504911576740711E-4"/>
          <c:y val="0"/>
          <c:w val="0.9991549508842325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56849691495307E-2"/>
          <c:y val="0.27975726895119418"/>
          <c:w val="0.96119032748959832"/>
          <c:h val="0.71045820353063349"/>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0-0F35-47AC-8F76-BEFC330A665E}"/>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1-0F35-47AC-8F76-BEFC330A665E}"/>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5424</c:v>
                </c:pt>
                <c:pt idx="1">
                  <c:v>7694</c:v>
                </c:pt>
                <c:pt idx="2">
                  <c:v>8064</c:v>
                </c:pt>
                <c:pt idx="3">
                  <c:v>6105</c:v>
                </c:pt>
                <c:pt idx="4">
                  <c:v>4306</c:v>
                </c:pt>
                <c:pt idx="5">
                  <c:v>3336</c:v>
                </c:pt>
                <c:pt idx="6">
                  <c:v>3409</c:v>
                </c:pt>
                <c:pt idx="7">
                  <c:v>3185</c:v>
                </c:pt>
                <c:pt idx="8">
                  <c:v>3633</c:v>
                </c:pt>
                <c:pt idx="9">
                  <c:v>5065</c:v>
                </c:pt>
                <c:pt idx="10">
                  <c:v>5831</c:v>
                </c:pt>
                <c:pt idx="11">
                  <c:v>6041</c:v>
                </c:pt>
                <c:pt idx="12">
                  <c:v>5872</c:v>
                </c:pt>
                <c:pt idx="13">
                  <c:v>5386</c:v>
                </c:pt>
                <c:pt idx="14">
                  <c:v>5546</c:v>
                </c:pt>
                <c:pt idx="15">
                  <c:v>5797</c:v>
                </c:pt>
                <c:pt idx="16">
                  <c:v>3841</c:v>
                </c:pt>
                <c:pt idx="17">
                  <c:v>4474</c:v>
                </c:pt>
                <c:pt idx="18">
                  <c:v>4046</c:v>
                </c:pt>
                <c:pt idx="19">
                  <c:v>5739</c:v>
                </c:pt>
                <c:pt idx="20">
                  <c:v>4628</c:v>
                </c:pt>
                <c:pt idx="21">
                  <c:v>4043</c:v>
                </c:pt>
                <c:pt idx="22">
                  <c:v>3040</c:v>
                </c:pt>
                <c:pt idx="23">
                  <c:v>3112</c:v>
                </c:pt>
                <c:pt idx="24">
                  <c:v>2948</c:v>
                </c:pt>
                <c:pt idx="25">
                  <c:v>4052</c:v>
                </c:pt>
                <c:pt idx="26">
                  <c:v>340</c:v>
                </c:pt>
                <c:pt idx="27">
                  <c:v>406</c:v>
                </c:pt>
                <c:pt idx="28">
                  <c:v>554</c:v>
                </c:pt>
                <c:pt idx="29">
                  <c:v>3932</c:v>
                </c:pt>
                <c:pt idx="30">
                  <c:v>1999</c:v>
                </c:pt>
                <c:pt idx="31">
                  <c:v>2003</c:v>
                </c:pt>
                <c:pt idx="32">
                  <c:v>1782</c:v>
                </c:pt>
                <c:pt idx="33">
                  <c:v>2538</c:v>
                </c:pt>
                <c:pt idx="34">
                  <c:v>2795</c:v>
                </c:pt>
                <c:pt idx="35">
                  <c:v>3057</c:v>
                </c:pt>
                <c:pt idx="36">
                  <c:v>3241</c:v>
                </c:pt>
                <c:pt idx="37">
                  <c:v>2863</c:v>
                </c:pt>
                <c:pt idx="38">
                  <c:v>1742</c:v>
                </c:pt>
                <c:pt idx="39">
                  <c:v>1306</c:v>
                </c:pt>
                <c:pt idx="40">
                  <c:v>1600</c:v>
                </c:pt>
                <c:pt idx="41">
                  <c:v>3084</c:v>
                </c:pt>
                <c:pt idx="42">
                  <c:v>3587</c:v>
                </c:pt>
                <c:pt idx="43">
                  <c:v>3988</c:v>
                </c:pt>
                <c:pt idx="44">
                  <c:v>4116</c:v>
                </c:pt>
                <c:pt idx="45">
                  <c:v>4336</c:v>
                </c:pt>
                <c:pt idx="46">
                  <c:v>4213</c:v>
                </c:pt>
                <c:pt idx="47">
                  <c:v>4087</c:v>
                </c:pt>
                <c:pt idx="48">
                  <c:v>3314</c:v>
                </c:pt>
                <c:pt idx="49">
                  <c:v>3821</c:v>
                </c:pt>
                <c:pt idx="50">
                  <c:v>1905</c:v>
                </c:pt>
                <c:pt idx="51">
                  <c:v>4601</c:v>
                </c:pt>
                <c:pt idx="52">
                  <c:v>4532</c:v>
                </c:pt>
                <c:pt idx="53">
                  <c:v>4419</c:v>
                </c:pt>
                <c:pt idx="54">
                  <c:v>2489</c:v>
                </c:pt>
                <c:pt idx="55">
                  <c:v>2345</c:v>
                </c:pt>
                <c:pt idx="56">
                  <c:v>3038</c:v>
                </c:pt>
                <c:pt idx="57">
                  <c:v>4255</c:v>
                </c:pt>
                <c:pt idx="58">
                  <c:v>2925</c:v>
                </c:pt>
                <c:pt idx="59">
                  <c:v>2021</c:v>
                </c:pt>
                <c:pt idx="60">
                  <c:v>2115</c:v>
                </c:pt>
                <c:pt idx="61">
                  <c:v>4184</c:v>
                </c:pt>
                <c:pt idx="62">
                  <c:v>4940</c:v>
                </c:pt>
                <c:pt idx="63">
                  <c:v>5689</c:v>
                </c:pt>
                <c:pt idx="64">
                  <c:v>4866</c:v>
                </c:pt>
                <c:pt idx="65">
                  <c:v>4303</c:v>
                </c:pt>
                <c:pt idx="66">
                  <c:v>796</c:v>
                </c:pt>
                <c:pt idx="67">
                  <c:v>1015</c:v>
                </c:pt>
                <c:pt idx="68">
                  <c:v>575</c:v>
                </c:pt>
                <c:pt idx="69">
                  <c:v>4545</c:v>
                </c:pt>
                <c:pt idx="70">
                  <c:v>4789</c:v>
                </c:pt>
                <c:pt idx="71">
                  <c:v>4266</c:v>
                </c:pt>
                <c:pt idx="72">
                  <c:v>2262</c:v>
                </c:pt>
                <c:pt idx="73">
                  <c:v>2375</c:v>
                </c:pt>
                <c:pt idx="74">
                  <c:v>2028</c:v>
                </c:pt>
                <c:pt idx="75">
                  <c:v>2504</c:v>
                </c:pt>
                <c:pt idx="76">
                  <c:v>2759</c:v>
                </c:pt>
                <c:pt idx="77">
                  <c:v>1963</c:v>
                </c:pt>
                <c:pt idx="78">
                  <c:v>4173</c:v>
                </c:pt>
                <c:pt idx="79">
                  <c:v>2978</c:v>
                </c:pt>
                <c:pt idx="80">
                  <c:v>1941</c:v>
                </c:pt>
                <c:pt idx="81">
                  <c:v>1887</c:v>
                </c:pt>
                <c:pt idx="82">
                  <c:v>2078</c:v>
                </c:pt>
                <c:pt idx="83">
                  <c:v>3320</c:v>
                </c:pt>
                <c:pt idx="84">
                  <c:v>3041</c:v>
                </c:pt>
                <c:pt idx="85">
                  <c:v>2780</c:v>
                </c:pt>
                <c:pt idx="86">
                  <c:v>2988</c:v>
                </c:pt>
                <c:pt idx="87">
                  <c:v>2273</c:v>
                </c:pt>
                <c:pt idx="88">
                  <c:v>2301</c:v>
                </c:pt>
                <c:pt idx="89">
                  <c:v>2298</c:v>
                </c:pt>
                <c:pt idx="90">
                  <c:v>2674</c:v>
                </c:pt>
                <c:pt idx="91">
                  <c:v>2660</c:v>
                </c:pt>
                <c:pt idx="92">
                  <c:v>2819</c:v>
                </c:pt>
                <c:pt idx="93">
                  <c:v>2652</c:v>
                </c:pt>
                <c:pt idx="94">
                  <c:v>2536</c:v>
                </c:pt>
                <c:pt idx="95">
                  <c:v>2688</c:v>
                </c:pt>
                <c:pt idx="96">
                  <c:v>2415</c:v>
                </c:pt>
                <c:pt idx="97">
                  <c:v>2043</c:v>
                </c:pt>
                <c:pt idx="98">
                  <c:v>2222</c:v>
                </c:pt>
                <c:pt idx="99">
                  <c:v>2956</c:v>
                </c:pt>
                <c:pt idx="100">
                  <c:v>436</c:v>
                </c:pt>
                <c:pt idx="101">
                  <c:v>545</c:v>
                </c:pt>
                <c:pt idx="102">
                  <c:v>411</c:v>
                </c:pt>
                <c:pt idx="103">
                  <c:v>2657</c:v>
                </c:pt>
              </c:numCache>
            </c:numRef>
          </c:val>
          <c:extLst>
            <c:ext xmlns:c16="http://schemas.microsoft.com/office/drawing/2014/chart" uri="{C3380CC4-5D6E-409C-BE32-E72D297353CC}">
              <c16:uniqueId val="{00000000-F61D-48BC-8F2C-2427BC9DB9F7}"/>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788</c:v>
                </c:pt>
                <c:pt idx="1">
                  <c:v>10958</c:v>
                </c:pt>
                <c:pt idx="2">
                  <c:v>13555</c:v>
                </c:pt>
                <c:pt idx="3">
                  <c:v>12297</c:v>
                </c:pt>
                <c:pt idx="4">
                  <c:v>11165</c:v>
                </c:pt>
                <c:pt idx="5">
                  <c:v>8783</c:v>
                </c:pt>
                <c:pt idx="6">
                  <c:v>9989</c:v>
                </c:pt>
                <c:pt idx="7">
                  <c:v>5529</c:v>
                </c:pt>
                <c:pt idx="8">
                  <c:v>6362</c:v>
                </c:pt>
                <c:pt idx="9">
                  <c:v>5893</c:v>
                </c:pt>
                <c:pt idx="10">
                  <c:v>2544</c:v>
                </c:pt>
                <c:pt idx="11">
                  <c:v>225</c:v>
                </c:pt>
                <c:pt idx="12">
                  <c:v>584</c:v>
                </c:pt>
                <c:pt idx="13">
                  <c:v>546</c:v>
                </c:pt>
                <c:pt idx="14">
                  <c:v>178</c:v>
                </c:pt>
                <c:pt idx="15">
                  <c:v>26</c:v>
                </c:pt>
                <c:pt idx="16">
                  <c:v>16345</c:v>
                </c:pt>
                <c:pt idx="17">
                  <c:v>18415</c:v>
                </c:pt>
                <c:pt idx="18">
                  <c:v>6514</c:v>
                </c:pt>
                <c:pt idx="19">
                  <c:v>96</c:v>
                </c:pt>
                <c:pt idx="20">
                  <c:v>4622</c:v>
                </c:pt>
                <c:pt idx="21">
                  <c:v>6267</c:v>
                </c:pt>
                <c:pt idx="22">
                  <c:v>8289</c:v>
                </c:pt>
                <c:pt idx="23">
                  <c:v>8461</c:v>
                </c:pt>
                <c:pt idx="24">
                  <c:v>3085</c:v>
                </c:pt>
                <c:pt idx="25">
                  <c:v>202</c:v>
                </c:pt>
                <c:pt idx="26">
                  <c:v>13498</c:v>
                </c:pt>
                <c:pt idx="27">
                  <c:v>17015</c:v>
                </c:pt>
                <c:pt idx="28">
                  <c:v>7966</c:v>
                </c:pt>
                <c:pt idx="29">
                  <c:v>43</c:v>
                </c:pt>
                <c:pt idx="30">
                  <c:v>8668</c:v>
                </c:pt>
                <c:pt idx="31">
                  <c:v>9714</c:v>
                </c:pt>
                <c:pt idx="32">
                  <c:v>5639</c:v>
                </c:pt>
                <c:pt idx="33">
                  <c:v>2928</c:v>
                </c:pt>
                <c:pt idx="34">
                  <c:v>1384</c:v>
                </c:pt>
                <c:pt idx="35">
                  <c:v>312</c:v>
                </c:pt>
                <c:pt idx="36">
                  <c:v>527</c:v>
                </c:pt>
                <c:pt idx="37">
                  <c:v>554</c:v>
                </c:pt>
                <c:pt idx="38">
                  <c:v>7510</c:v>
                </c:pt>
                <c:pt idx="39">
                  <c:v>10610</c:v>
                </c:pt>
                <c:pt idx="40">
                  <c:v>3797</c:v>
                </c:pt>
                <c:pt idx="41">
                  <c:v>108</c:v>
                </c:pt>
                <c:pt idx="42">
                  <c:v>112</c:v>
                </c:pt>
                <c:pt idx="43">
                  <c:v>120</c:v>
                </c:pt>
                <c:pt idx="44">
                  <c:v>64</c:v>
                </c:pt>
                <c:pt idx="45">
                  <c:v>76</c:v>
                </c:pt>
                <c:pt idx="46">
                  <c:v>54</c:v>
                </c:pt>
                <c:pt idx="47">
                  <c:v>52</c:v>
                </c:pt>
                <c:pt idx="48">
                  <c:v>12536</c:v>
                </c:pt>
                <c:pt idx="49">
                  <c:v>16121</c:v>
                </c:pt>
                <c:pt idx="50">
                  <c:v>7616</c:v>
                </c:pt>
                <c:pt idx="51">
                  <c:v>25</c:v>
                </c:pt>
                <c:pt idx="52">
                  <c:v>45</c:v>
                </c:pt>
                <c:pt idx="53">
                  <c:v>22</c:v>
                </c:pt>
                <c:pt idx="54">
                  <c:v>13220</c:v>
                </c:pt>
                <c:pt idx="55">
                  <c:v>12617</c:v>
                </c:pt>
                <c:pt idx="56">
                  <c:v>3521</c:v>
                </c:pt>
                <c:pt idx="57">
                  <c:v>56</c:v>
                </c:pt>
                <c:pt idx="58">
                  <c:v>4188</c:v>
                </c:pt>
                <c:pt idx="59">
                  <c:v>4176</c:v>
                </c:pt>
                <c:pt idx="60">
                  <c:v>5584</c:v>
                </c:pt>
                <c:pt idx="61">
                  <c:v>8227</c:v>
                </c:pt>
                <c:pt idx="62">
                  <c:v>2884</c:v>
                </c:pt>
                <c:pt idx="63">
                  <c:v>172</c:v>
                </c:pt>
                <c:pt idx="64">
                  <c:v>167</c:v>
                </c:pt>
                <c:pt idx="65">
                  <c:v>111</c:v>
                </c:pt>
                <c:pt idx="66">
                  <c:v>19061</c:v>
                </c:pt>
                <c:pt idx="67">
                  <c:v>22806</c:v>
                </c:pt>
                <c:pt idx="68">
                  <c:v>10136</c:v>
                </c:pt>
                <c:pt idx="69">
                  <c:v>275</c:v>
                </c:pt>
                <c:pt idx="70">
                  <c:v>263</c:v>
                </c:pt>
                <c:pt idx="71">
                  <c:v>280</c:v>
                </c:pt>
                <c:pt idx="72">
                  <c:v>5159</c:v>
                </c:pt>
                <c:pt idx="73">
                  <c:v>7463</c:v>
                </c:pt>
                <c:pt idx="74">
                  <c:v>6894</c:v>
                </c:pt>
                <c:pt idx="75">
                  <c:v>5402</c:v>
                </c:pt>
                <c:pt idx="76">
                  <c:v>6667</c:v>
                </c:pt>
                <c:pt idx="77">
                  <c:v>4448</c:v>
                </c:pt>
                <c:pt idx="78">
                  <c:v>2013</c:v>
                </c:pt>
                <c:pt idx="79">
                  <c:v>87</c:v>
                </c:pt>
                <c:pt idx="80">
                  <c:v>7287</c:v>
                </c:pt>
                <c:pt idx="81">
                  <c:v>10948</c:v>
                </c:pt>
                <c:pt idx="82">
                  <c:v>3570</c:v>
                </c:pt>
                <c:pt idx="83">
                  <c:v>38</c:v>
                </c:pt>
                <c:pt idx="84">
                  <c:v>10</c:v>
                </c:pt>
                <c:pt idx="85">
                  <c:v>10</c:v>
                </c:pt>
                <c:pt idx="86">
                  <c:v>703</c:v>
                </c:pt>
                <c:pt idx="87">
                  <c:v>3282</c:v>
                </c:pt>
                <c:pt idx="88">
                  <c:v>3401</c:v>
                </c:pt>
                <c:pt idx="89">
                  <c:v>1288</c:v>
                </c:pt>
                <c:pt idx="90">
                  <c:v>42</c:v>
                </c:pt>
                <c:pt idx="91">
                  <c:v>34</c:v>
                </c:pt>
                <c:pt idx="92">
                  <c:v>10</c:v>
                </c:pt>
                <c:pt idx="93">
                  <c:v>8</c:v>
                </c:pt>
                <c:pt idx="94">
                  <c:v>11610</c:v>
                </c:pt>
                <c:pt idx="95">
                  <c:v>13969</c:v>
                </c:pt>
                <c:pt idx="96">
                  <c:v>4174</c:v>
                </c:pt>
                <c:pt idx="97">
                  <c:v>9270</c:v>
                </c:pt>
                <c:pt idx="98">
                  <c:v>3242</c:v>
                </c:pt>
                <c:pt idx="99">
                  <c:v>0</c:v>
                </c:pt>
                <c:pt idx="100">
                  <c:v>9868</c:v>
                </c:pt>
                <c:pt idx="101">
                  <c:v>12410</c:v>
                </c:pt>
                <c:pt idx="102">
                  <c:v>5436</c:v>
                </c:pt>
                <c:pt idx="103">
                  <c:v>45</c:v>
                </c:pt>
              </c:numCache>
            </c:numRef>
          </c:val>
          <c:extLst>
            <c:ext xmlns:c16="http://schemas.microsoft.com/office/drawing/2014/chart" uri="{C3380CC4-5D6E-409C-BE32-E72D297353CC}">
              <c16:uniqueId val="{00000001-F61D-48BC-8F2C-2427BC9DB9F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0810</c:v>
                </c:pt>
                <c:pt idx="1">
                  <c:v>10089</c:v>
                </c:pt>
                <c:pt idx="2">
                  <c:v>5121</c:v>
                </c:pt>
                <c:pt idx="3">
                  <c:v>7276</c:v>
                </c:pt>
                <c:pt idx="4">
                  <c:v>8916</c:v>
                </c:pt>
                <c:pt idx="5">
                  <c:v>9411</c:v>
                </c:pt>
                <c:pt idx="6">
                  <c:v>8041</c:v>
                </c:pt>
                <c:pt idx="7">
                  <c:v>8669</c:v>
                </c:pt>
                <c:pt idx="8">
                  <c:v>11931</c:v>
                </c:pt>
                <c:pt idx="9">
                  <c:v>8121</c:v>
                </c:pt>
                <c:pt idx="10">
                  <c:v>4572</c:v>
                </c:pt>
                <c:pt idx="11">
                  <c:v>8127</c:v>
                </c:pt>
                <c:pt idx="12">
                  <c:v>9262</c:v>
                </c:pt>
                <c:pt idx="13">
                  <c:v>8141</c:v>
                </c:pt>
                <c:pt idx="14">
                  <c:v>9018</c:v>
                </c:pt>
                <c:pt idx="15">
                  <c:v>9003</c:v>
                </c:pt>
                <c:pt idx="16">
                  <c:v>6797</c:v>
                </c:pt>
                <c:pt idx="17">
                  <c:v>4823</c:v>
                </c:pt>
                <c:pt idx="18">
                  <c:v>8083</c:v>
                </c:pt>
                <c:pt idx="19">
                  <c:v>11032</c:v>
                </c:pt>
                <c:pt idx="20">
                  <c:v>10107</c:v>
                </c:pt>
                <c:pt idx="21">
                  <c:v>8418</c:v>
                </c:pt>
                <c:pt idx="22">
                  <c:v>5994</c:v>
                </c:pt>
                <c:pt idx="23">
                  <c:v>7599</c:v>
                </c:pt>
                <c:pt idx="24">
                  <c:v>5115</c:v>
                </c:pt>
                <c:pt idx="25">
                  <c:v>3805</c:v>
                </c:pt>
                <c:pt idx="26">
                  <c:v>6006</c:v>
                </c:pt>
                <c:pt idx="27">
                  <c:v>7379</c:v>
                </c:pt>
                <c:pt idx="28">
                  <c:v>7123</c:v>
                </c:pt>
                <c:pt idx="29">
                  <c:v>7142</c:v>
                </c:pt>
                <c:pt idx="30">
                  <c:v>6877</c:v>
                </c:pt>
                <c:pt idx="31">
                  <c:v>6220</c:v>
                </c:pt>
                <c:pt idx="32">
                  <c:v>5853</c:v>
                </c:pt>
                <c:pt idx="33">
                  <c:v>6009</c:v>
                </c:pt>
                <c:pt idx="34">
                  <c:v>5303</c:v>
                </c:pt>
                <c:pt idx="35">
                  <c:v>5357</c:v>
                </c:pt>
                <c:pt idx="36">
                  <c:v>4769</c:v>
                </c:pt>
                <c:pt idx="37">
                  <c:v>2497</c:v>
                </c:pt>
                <c:pt idx="38">
                  <c:v>3398</c:v>
                </c:pt>
                <c:pt idx="39">
                  <c:v>3621</c:v>
                </c:pt>
                <c:pt idx="40">
                  <c:v>3879</c:v>
                </c:pt>
                <c:pt idx="41">
                  <c:v>4732</c:v>
                </c:pt>
                <c:pt idx="42">
                  <c:v>7308</c:v>
                </c:pt>
                <c:pt idx="43">
                  <c:v>9036</c:v>
                </c:pt>
                <c:pt idx="44">
                  <c:v>10084</c:v>
                </c:pt>
                <c:pt idx="45">
                  <c:v>9083</c:v>
                </c:pt>
                <c:pt idx="46">
                  <c:v>5482</c:v>
                </c:pt>
                <c:pt idx="47">
                  <c:v>3778</c:v>
                </c:pt>
                <c:pt idx="48">
                  <c:v>7809</c:v>
                </c:pt>
                <c:pt idx="49">
                  <c:v>7739</c:v>
                </c:pt>
                <c:pt idx="50">
                  <c:v>7596</c:v>
                </c:pt>
                <c:pt idx="51">
                  <c:v>6196</c:v>
                </c:pt>
                <c:pt idx="52">
                  <c:v>5910</c:v>
                </c:pt>
                <c:pt idx="53">
                  <c:v>3695</c:v>
                </c:pt>
                <c:pt idx="54">
                  <c:v>6430</c:v>
                </c:pt>
                <c:pt idx="55">
                  <c:v>8035</c:v>
                </c:pt>
                <c:pt idx="56">
                  <c:v>7611</c:v>
                </c:pt>
                <c:pt idx="57">
                  <c:v>9039</c:v>
                </c:pt>
                <c:pt idx="58">
                  <c:v>8087</c:v>
                </c:pt>
                <c:pt idx="59">
                  <c:v>8932</c:v>
                </c:pt>
                <c:pt idx="60">
                  <c:v>8868</c:v>
                </c:pt>
                <c:pt idx="61">
                  <c:v>13093</c:v>
                </c:pt>
                <c:pt idx="62">
                  <c:v>8128</c:v>
                </c:pt>
                <c:pt idx="63">
                  <c:v>4890</c:v>
                </c:pt>
                <c:pt idx="64">
                  <c:v>6845</c:v>
                </c:pt>
                <c:pt idx="65">
                  <c:v>8260</c:v>
                </c:pt>
                <c:pt idx="66">
                  <c:v>8951</c:v>
                </c:pt>
                <c:pt idx="67">
                  <c:v>9377</c:v>
                </c:pt>
                <c:pt idx="68">
                  <c:v>7130</c:v>
                </c:pt>
                <c:pt idx="69">
                  <c:v>4881</c:v>
                </c:pt>
                <c:pt idx="70">
                  <c:v>8326</c:v>
                </c:pt>
                <c:pt idx="71">
                  <c:v>6489</c:v>
                </c:pt>
                <c:pt idx="72">
                  <c:v>6081</c:v>
                </c:pt>
                <c:pt idx="73">
                  <c:v>7404</c:v>
                </c:pt>
                <c:pt idx="74">
                  <c:v>7204</c:v>
                </c:pt>
                <c:pt idx="75">
                  <c:v>8013</c:v>
                </c:pt>
                <c:pt idx="76">
                  <c:v>6689</c:v>
                </c:pt>
                <c:pt idx="77">
                  <c:v>6812</c:v>
                </c:pt>
                <c:pt idx="78">
                  <c:v>6117</c:v>
                </c:pt>
                <c:pt idx="79">
                  <c:v>6225</c:v>
                </c:pt>
                <c:pt idx="80">
                  <c:v>3929</c:v>
                </c:pt>
                <c:pt idx="81">
                  <c:v>2740</c:v>
                </c:pt>
                <c:pt idx="82">
                  <c:v>4127</c:v>
                </c:pt>
                <c:pt idx="83">
                  <c:v>4589</c:v>
                </c:pt>
                <c:pt idx="84">
                  <c:v>4916</c:v>
                </c:pt>
                <c:pt idx="85">
                  <c:v>5241</c:v>
                </c:pt>
                <c:pt idx="86">
                  <c:v>5137</c:v>
                </c:pt>
                <c:pt idx="87">
                  <c:v>5001</c:v>
                </c:pt>
                <c:pt idx="88">
                  <c:v>4319</c:v>
                </c:pt>
                <c:pt idx="89">
                  <c:v>4010</c:v>
                </c:pt>
                <c:pt idx="90">
                  <c:v>2753</c:v>
                </c:pt>
                <c:pt idx="91">
                  <c:v>1734</c:v>
                </c:pt>
                <c:pt idx="92">
                  <c:v>3341</c:v>
                </c:pt>
                <c:pt idx="93">
                  <c:v>5772</c:v>
                </c:pt>
                <c:pt idx="94">
                  <c:v>5197</c:v>
                </c:pt>
                <c:pt idx="95">
                  <c:v>3434</c:v>
                </c:pt>
                <c:pt idx="96">
                  <c:v>7685</c:v>
                </c:pt>
                <c:pt idx="97">
                  <c:v>4914</c:v>
                </c:pt>
                <c:pt idx="98">
                  <c:v>2971</c:v>
                </c:pt>
                <c:pt idx="99">
                  <c:v>5204</c:v>
                </c:pt>
                <c:pt idx="100">
                  <c:v>5523</c:v>
                </c:pt>
                <c:pt idx="101">
                  <c:v>5494</c:v>
                </c:pt>
                <c:pt idx="102">
                  <c:v>5440</c:v>
                </c:pt>
                <c:pt idx="103">
                  <c:v>9116</c:v>
                </c:pt>
              </c:numCache>
            </c:numRef>
          </c:val>
          <c:extLst>
            <c:ext xmlns:c16="http://schemas.microsoft.com/office/drawing/2014/chart" uri="{C3380CC4-5D6E-409C-BE32-E72D297353CC}">
              <c16:uniqueId val="{00000000-6F53-47D1-94A7-6E320397265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0</c:v>
                </c:pt>
                <c:pt idx="1">
                  <c:v>1916</c:v>
                </c:pt>
                <c:pt idx="2">
                  <c:v>37396</c:v>
                </c:pt>
                <c:pt idx="3">
                  <c:v>12228</c:v>
                </c:pt>
                <c:pt idx="4">
                  <c:v>142</c:v>
                </c:pt>
                <c:pt idx="5">
                  <c:v>1</c:v>
                </c:pt>
                <c:pt idx="6">
                  <c:v>0</c:v>
                </c:pt>
                <c:pt idx="7">
                  <c:v>0</c:v>
                </c:pt>
                <c:pt idx="8">
                  <c:v>0</c:v>
                </c:pt>
                <c:pt idx="9">
                  <c:v>40819</c:v>
                </c:pt>
                <c:pt idx="10">
                  <c:v>42168</c:v>
                </c:pt>
                <c:pt idx="11">
                  <c:v>6578</c:v>
                </c:pt>
                <c:pt idx="12">
                  <c:v>17192</c:v>
                </c:pt>
                <c:pt idx="13">
                  <c:v>21303</c:v>
                </c:pt>
                <c:pt idx="14">
                  <c:v>7461</c:v>
                </c:pt>
                <c:pt idx="15">
                  <c:v>43</c:v>
                </c:pt>
                <c:pt idx="16">
                  <c:v>35829</c:v>
                </c:pt>
                <c:pt idx="17">
                  <c:v>44812</c:v>
                </c:pt>
                <c:pt idx="18">
                  <c:v>14043</c:v>
                </c:pt>
                <c:pt idx="19">
                  <c:v>60</c:v>
                </c:pt>
                <c:pt idx="20">
                  <c:v>1</c:v>
                </c:pt>
                <c:pt idx="21">
                  <c:v>18875</c:v>
                </c:pt>
                <c:pt idx="22">
                  <c:v>19234</c:v>
                </c:pt>
                <c:pt idx="23">
                  <c:v>2616</c:v>
                </c:pt>
                <c:pt idx="24">
                  <c:v>20182</c:v>
                </c:pt>
                <c:pt idx="25">
                  <c:v>31984</c:v>
                </c:pt>
                <c:pt idx="26">
                  <c:v>10227</c:v>
                </c:pt>
                <c:pt idx="27">
                  <c:v>18</c:v>
                </c:pt>
                <c:pt idx="28">
                  <c:v>2</c:v>
                </c:pt>
                <c:pt idx="29">
                  <c:v>6</c:v>
                </c:pt>
                <c:pt idx="30">
                  <c:v>0</c:v>
                </c:pt>
                <c:pt idx="31">
                  <c:v>0</c:v>
                </c:pt>
                <c:pt idx="32">
                  <c:v>0</c:v>
                </c:pt>
                <c:pt idx="33">
                  <c:v>8404</c:v>
                </c:pt>
                <c:pt idx="34">
                  <c:v>9887</c:v>
                </c:pt>
                <c:pt idx="35">
                  <c:v>3098</c:v>
                </c:pt>
                <c:pt idx="36">
                  <c:v>843</c:v>
                </c:pt>
                <c:pt idx="37">
                  <c:v>19596</c:v>
                </c:pt>
                <c:pt idx="38">
                  <c:v>7044</c:v>
                </c:pt>
                <c:pt idx="39">
                  <c:v>13</c:v>
                </c:pt>
                <c:pt idx="40">
                  <c:v>7657</c:v>
                </c:pt>
                <c:pt idx="41">
                  <c:v>13687</c:v>
                </c:pt>
                <c:pt idx="42">
                  <c:v>5078</c:v>
                </c:pt>
                <c:pt idx="43">
                  <c:v>39</c:v>
                </c:pt>
                <c:pt idx="44">
                  <c:v>2</c:v>
                </c:pt>
                <c:pt idx="45">
                  <c:v>5</c:v>
                </c:pt>
                <c:pt idx="46">
                  <c:v>41369</c:v>
                </c:pt>
                <c:pt idx="47">
                  <c:v>45452</c:v>
                </c:pt>
                <c:pt idx="48">
                  <c:v>446</c:v>
                </c:pt>
                <c:pt idx="49">
                  <c:v>13</c:v>
                </c:pt>
                <c:pt idx="50">
                  <c:v>1</c:v>
                </c:pt>
                <c:pt idx="51">
                  <c:v>14926</c:v>
                </c:pt>
                <c:pt idx="52">
                  <c:v>19078</c:v>
                </c:pt>
                <c:pt idx="53">
                  <c:v>29930</c:v>
                </c:pt>
                <c:pt idx="54">
                  <c:v>9386</c:v>
                </c:pt>
                <c:pt idx="55">
                  <c:v>185</c:v>
                </c:pt>
                <c:pt idx="56">
                  <c:v>2043</c:v>
                </c:pt>
                <c:pt idx="57">
                  <c:v>759</c:v>
                </c:pt>
                <c:pt idx="58">
                  <c:v>3</c:v>
                </c:pt>
                <c:pt idx="59">
                  <c:v>1367</c:v>
                </c:pt>
                <c:pt idx="60">
                  <c:v>3691</c:v>
                </c:pt>
                <c:pt idx="61">
                  <c:v>143</c:v>
                </c:pt>
                <c:pt idx="62">
                  <c:v>25495</c:v>
                </c:pt>
                <c:pt idx="63">
                  <c:v>32467</c:v>
                </c:pt>
                <c:pt idx="64">
                  <c:v>9174</c:v>
                </c:pt>
                <c:pt idx="65">
                  <c:v>96</c:v>
                </c:pt>
                <c:pt idx="66">
                  <c:v>27</c:v>
                </c:pt>
                <c:pt idx="67">
                  <c:v>24</c:v>
                </c:pt>
                <c:pt idx="68">
                  <c:v>40521</c:v>
                </c:pt>
                <c:pt idx="69">
                  <c:v>50190</c:v>
                </c:pt>
                <c:pt idx="70">
                  <c:v>1098</c:v>
                </c:pt>
                <c:pt idx="71">
                  <c:v>10923</c:v>
                </c:pt>
                <c:pt idx="72">
                  <c:v>14964</c:v>
                </c:pt>
                <c:pt idx="73">
                  <c:v>1998</c:v>
                </c:pt>
                <c:pt idx="74">
                  <c:v>15</c:v>
                </c:pt>
                <c:pt idx="75">
                  <c:v>42</c:v>
                </c:pt>
                <c:pt idx="76">
                  <c:v>845</c:v>
                </c:pt>
                <c:pt idx="77">
                  <c:v>24891</c:v>
                </c:pt>
                <c:pt idx="78">
                  <c:v>6259</c:v>
                </c:pt>
                <c:pt idx="79">
                  <c:v>15</c:v>
                </c:pt>
                <c:pt idx="80">
                  <c:v>18834</c:v>
                </c:pt>
                <c:pt idx="81">
                  <c:v>24637</c:v>
                </c:pt>
                <c:pt idx="82">
                  <c:v>16167</c:v>
                </c:pt>
                <c:pt idx="83">
                  <c:v>9715</c:v>
                </c:pt>
                <c:pt idx="84">
                  <c:v>2894</c:v>
                </c:pt>
                <c:pt idx="85">
                  <c:v>6</c:v>
                </c:pt>
                <c:pt idx="86">
                  <c:v>0</c:v>
                </c:pt>
                <c:pt idx="87">
                  <c:v>0</c:v>
                </c:pt>
                <c:pt idx="88">
                  <c:v>0</c:v>
                </c:pt>
                <c:pt idx="89">
                  <c:v>0</c:v>
                </c:pt>
                <c:pt idx="90">
                  <c:v>10681</c:v>
                </c:pt>
                <c:pt idx="91">
                  <c:v>13812</c:v>
                </c:pt>
                <c:pt idx="92">
                  <c:v>4483</c:v>
                </c:pt>
                <c:pt idx="93">
                  <c:v>17</c:v>
                </c:pt>
                <c:pt idx="94">
                  <c:v>38881</c:v>
                </c:pt>
                <c:pt idx="95">
                  <c:v>41220</c:v>
                </c:pt>
                <c:pt idx="96">
                  <c:v>398</c:v>
                </c:pt>
                <c:pt idx="97">
                  <c:v>22261</c:v>
                </c:pt>
                <c:pt idx="98">
                  <c:v>25702</c:v>
                </c:pt>
                <c:pt idx="99">
                  <c:v>3715</c:v>
                </c:pt>
                <c:pt idx="100">
                  <c:v>10</c:v>
                </c:pt>
                <c:pt idx="101">
                  <c:v>2</c:v>
                </c:pt>
                <c:pt idx="102">
                  <c:v>0</c:v>
                </c:pt>
                <c:pt idx="103">
                  <c:v>0</c:v>
                </c:pt>
              </c:numCache>
            </c:numRef>
          </c:val>
          <c:extLst>
            <c:ext xmlns:c16="http://schemas.microsoft.com/office/drawing/2014/chart" uri="{C3380CC4-5D6E-409C-BE32-E72D297353CC}">
              <c16:uniqueId val="{00000001-6F53-47D1-94A7-6E320397265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DD3D-4642-97D9-E9DEC2D41E77}"/>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DD3D-4642-97D9-E9DEC2D41E7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C$1</c:f>
              <c:strCache>
                <c:ptCount val="1"/>
                <c:pt idx="0">
                  <c:v>Big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C$2:$C$37</c:f>
              <c:numCache>
                <c:formatCode>0%</c:formatCode>
                <c:ptCount val="36"/>
                <c:pt idx="0">
                  <c:v>0.97769335396900214</c:v>
                </c:pt>
                <c:pt idx="1">
                  <c:v>1.0684026941505411</c:v>
                </c:pt>
                <c:pt idx="2">
                  <c:v>1.227788338650863</c:v>
                </c:pt>
                <c:pt idx="3">
                  <c:v>1.2600249267555805</c:v>
                </c:pt>
                <c:pt idx="4">
                  <c:v>1.0918592645087959</c:v>
                </c:pt>
                <c:pt idx="5">
                  <c:v>0.95771669383942326</c:v>
                </c:pt>
                <c:pt idx="6">
                  <c:v>0.83219611340774713</c:v>
                </c:pt>
                <c:pt idx="7">
                  <c:v>0.81834298268274142</c:v>
                </c:pt>
                <c:pt idx="8">
                  <c:v>0.88385620277610388</c:v>
                </c:pt>
                <c:pt idx="9">
                  <c:v>0.80517208351256697</c:v>
                </c:pt>
                <c:pt idx="10">
                  <c:v>0.9015653700076367</c:v>
                </c:pt>
                <c:pt idx="11">
                  <c:v>0.96767243413039483</c:v>
                </c:pt>
                <c:pt idx="12">
                  <c:v>1.1135997973792224</c:v>
                </c:pt>
                <c:pt idx="13">
                  <c:v>1.1319284492778312</c:v>
                </c:pt>
                <c:pt idx="14">
                  <c:v>1.2471325483184159</c:v>
                </c:pt>
                <c:pt idx="15">
                  <c:v>1.2700266471810697</c:v>
                </c:pt>
                <c:pt idx="16">
                  <c:v>1.0558129473154825</c:v>
                </c:pt>
                <c:pt idx="17">
                  <c:v>0.96994353867049321</c:v>
                </c:pt>
                <c:pt idx="18">
                  <c:v>0.82763802860581237</c:v>
                </c:pt>
                <c:pt idx="19">
                  <c:v>0.82565195282496984</c:v>
                </c:pt>
                <c:pt idx="20">
                  <c:v>0.8734375393789986</c:v>
                </c:pt>
                <c:pt idx="21">
                  <c:v>0.77022486702200921</c:v>
                </c:pt>
                <c:pt idx="22">
                  <c:v>0.86712822471444584</c:v>
                </c:pt>
                <c:pt idx="23">
                  <c:v>0.92604347311977919</c:v>
                </c:pt>
                <c:pt idx="24">
                  <c:v>1.0342509203635326</c:v>
                </c:pt>
                <c:pt idx="25">
                  <c:v>1.0937835038941166</c:v>
                </c:pt>
                <c:pt idx="26">
                  <c:v>1.2287083096919564</c:v>
                </c:pt>
                <c:pt idx="27">
                  <c:v>1.3004179911042999</c:v>
                </c:pt>
                <c:pt idx="28">
                  <c:v>1.1552634977634784</c:v>
                </c:pt>
                <c:pt idx="29">
                  <c:v>0.98258002329880667</c:v>
                </c:pt>
                <c:pt idx="30">
                  <c:v>0.86772511051917489</c:v>
                </c:pt>
                <c:pt idx="31">
                  <c:v>0.90043653912940158</c:v>
                </c:pt>
                <c:pt idx="32">
                  <c:v>0.93139931325784975</c:v>
                </c:pt>
                <c:pt idx="33">
                  <c:v>0.96374922439900401</c:v>
                </c:pt>
                <c:pt idx="34">
                  <c:v>1.0313290190154365</c:v>
                </c:pt>
                <c:pt idx="35">
                  <c:v>1.0735224433277097</c:v>
                </c:pt>
              </c:numCache>
            </c:numRef>
          </c:val>
          <c:extLst>
            <c:ext xmlns:c16="http://schemas.microsoft.com/office/drawing/2014/chart" uri="{C3380CC4-5D6E-409C-BE32-E72D297353CC}">
              <c16:uniqueId val="{00000003-DDC5-4BB0-9697-B3C6B8123A4B}"/>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chemeClr val="bg2"/>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chemeClr val="bg2"/>
              </a:solidFill>
              <a:ln>
                <a:noFill/>
              </a:ln>
              <a:effectLst/>
            </c:spPr>
            <c:extLst>
              <c:ext xmlns:c16="http://schemas.microsoft.com/office/drawing/2014/chart" uri="{C3380CC4-5D6E-409C-BE32-E72D297353CC}">
                <c16:uniqueId val="{00000005-26FB-4B52-8D72-D56D618E8EAF}"/>
              </c:ext>
            </c:extLst>
          </c:dPt>
          <c:dPt>
            <c:idx val="3"/>
            <c:invertIfNegative val="0"/>
            <c:bubble3D val="0"/>
            <c:extLst>
              <c:ext xmlns:c16="http://schemas.microsoft.com/office/drawing/2014/chart" uri="{C3380CC4-5D6E-409C-BE32-E72D297353CC}">
                <c16:uniqueId val="{00000007-26FB-4B52-8D72-D56D618E8EAF}"/>
              </c:ext>
            </c:extLst>
          </c:dPt>
          <c:dPt>
            <c:idx val="4"/>
            <c:invertIfNegative val="0"/>
            <c:bubble3D val="0"/>
            <c:extLst>
              <c:ext xmlns:c16="http://schemas.microsoft.com/office/drawing/2014/chart" uri="{C3380CC4-5D6E-409C-BE32-E72D297353CC}">
                <c16:uniqueId val="{00000009-26FB-4B52-8D72-D56D618E8EAF}"/>
              </c:ext>
            </c:extLst>
          </c:dPt>
          <c:dPt>
            <c:idx val="5"/>
            <c:invertIfNegative val="0"/>
            <c:bubble3D val="0"/>
            <c:extLst>
              <c:ext xmlns:c16="http://schemas.microsoft.com/office/drawing/2014/chart" uri="{C3380CC4-5D6E-409C-BE32-E72D297353CC}">
                <c16:uniqueId val="{0000000B-26FB-4B52-8D72-D56D618E8EAF}"/>
              </c:ext>
            </c:extLst>
          </c:dPt>
          <c:dPt>
            <c:idx val="6"/>
            <c:invertIfNegative val="0"/>
            <c:bubble3D val="0"/>
            <c:spPr>
              <a:solidFill>
                <a:schemeClr val="bg2"/>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25C57865-FA48-4606-87AF-B739341DA7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14CCA13C-595F-49E5-BE18-4CC2E2016E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8E0E27D0-72B5-4347-AE10-64180DCB9E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0FD9CE05-EAA3-4B8D-91BE-C17D732967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FEE5D68F-5FC6-4F49-B742-9DFD4C7A52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08D3A6E7-D34D-4BB0-8BF5-23E08BDA0E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7363EE1C-BB33-47FA-9858-2AF3808EA6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99C8B32C-0338-4AF2-8A94-9AC4545DB7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40C7AA3B-3A7C-4CC2-BB85-5538F44759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7A44B2CC-86D3-49A2-8245-5D19DB1BD7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E8FCBD69-5374-46CB-B36E-EE05715A33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B2D-4A32-96D2-9C641BCDE5CC}"/>
                </c:ext>
              </c:extLst>
            </c:dLbl>
            <c:dLbl>
              <c:idx val="11"/>
              <c:tx>
                <c:rich>
                  <a:bodyPr/>
                  <a:lstStyle/>
                  <a:p>
                    <a:fld id="{CF492F4B-C474-4440-B018-C288F089D9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26FB-4B52-8D72-D56D618E8EAF}"/>
                </c:ext>
              </c:extLst>
            </c:dLbl>
            <c:dLbl>
              <c:idx val="12"/>
              <c:tx>
                <c:rich>
                  <a:bodyPr/>
                  <a:lstStyle/>
                  <a:p>
                    <a:fld id="{5470821B-3121-4A55-AFD1-2B288FFD24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B2D-4A32-96D2-9C641BCDE5CC}"/>
                </c:ext>
              </c:extLst>
            </c:dLbl>
            <c:dLbl>
              <c:idx val="13"/>
              <c:tx>
                <c:rich>
                  <a:bodyPr/>
                  <a:lstStyle/>
                  <a:p>
                    <a:fld id="{0F28B006-B509-4413-B56B-AC0BB95CFB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26FB-4B52-8D72-D56D618E8EAF}"/>
                </c:ext>
              </c:extLst>
            </c:dLbl>
            <c:dLbl>
              <c:idx val="14"/>
              <c:tx>
                <c:rich>
                  <a:bodyPr/>
                  <a:lstStyle/>
                  <a:p>
                    <a:fld id="{54C17ED1-FB31-495B-8D8A-37034712C0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26FB-4B52-8D72-D56D618E8EAF}"/>
                </c:ext>
              </c:extLst>
            </c:dLbl>
            <c:dLbl>
              <c:idx val="15"/>
              <c:tx>
                <c:rich>
                  <a:bodyPr/>
                  <a:lstStyle/>
                  <a:p>
                    <a:fld id="{BBEB0EDC-717E-44B8-A19B-0136E502BB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26FB-4B52-8D72-D56D618E8EAF}"/>
                </c:ext>
              </c:extLst>
            </c:dLbl>
            <c:dLbl>
              <c:idx val="16"/>
              <c:tx>
                <c:rich>
                  <a:bodyPr/>
                  <a:lstStyle/>
                  <a:p>
                    <a:fld id="{6E00529D-5DFC-4181-AB41-047435A53E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A6E-4C83-9A06-9C3309B2855E}"/>
                </c:ext>
              </c:extLst>
            </c:dLbl>
            <c:dLbl>
              <c:idx val="17"/>
              <c:tx>
                <c:rich>
                  <a:bodyPr/>
                  <a:lstStyle/>
                  <a:p>
                    <a:fld id="{2DA06E89-417D-4E62-B2AF-B0C1ED01C1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0A6E-4C83-9A06-9C3309B2855E}"/>
                </c:ext>
              </c:extLst>
            </c:dLbl>
            <c:dLbl>
              <c:idx val="18"/>
              <c:tx>
                <c:rich>
                  <a:bodyPr/>
                  <a:lstStyle/>
                  <a:p>
                    <a:fld id="{38DA2456-3319-4FDF-A97F-248E2BD817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A6E-4C83-9A06-9C3309B2855E}"/>
                </c:ext>
              </c:extLst>
            </c:dLbl>
            <c:dLbl>
              <c:idx val="19"/>
              <c:tx>
                <c:rich>
                  <a:bodyPr/>
                  <a:lstStyle/>
                  <a:p>
                    <a:fld id="{4230AFC3-8FED-4A8A-9947-7223D620B0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A6E-4C83-9A06-9C3309B2855E}"/>
                </c:ext>
              </c:extLst>
            </c:dLbl>
            <c:dLbl>
              <c:idx val="20"/>
              <c:tx>
                <c:rich>
                  <a:bodyPr/>
                  <a:lstStyle/>
                  <a:p>
                    <a:fld id="{79CF2812-5065-45D1-87F1-9B25049F82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C5AD-4BCF-9CB2-60EDA2D7DB42}"/>
                </c:ext>
              </c:extLst>
            </c:dLbl>
            <c:dLbl>
              <c:idx val="21"/>
              <c:tx>
                <c:rich>
                  <a:bodyPr/>
                  <a:lstStyle/>
                  <a:p>
                    <a:fld id="{F1B68A6A-2831-4F5A-BB8E-6EBBD51425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5AD-4BCF-9CB2-60EDA2D7DB42}"/>
                </c:ext>
              </c:extLst>
            </c:dLbl>
            <c:dLbl>
              <c:idx val="22"/>
              <c:tx>
                <c:rich>
                  <a:bodyPr/>
                  <a:lstStyle/>
                  <a:p>
                    <a:fld id="{B4E49D99-5B03-40F0-9754-C44487D0C2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5AD-4BCF-9CB2-60EDA2D7DB42}"/>
                </c:ext>
              </c:extLst>
            </c:dLbl>
            <c:dLbl>
              <c:idx val="23"/>
              <c:tx>
                <c:rich>
                  <a:bodyPr/>
                  <a:lstStyle/>
                  <a:p>
                    <a:fld id="{93A2BF52-48CE-4091-AB1E-CFD910AC43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5AD-4BCF-9CB2-60EDA2D7DB42}"/>
                </c:ext>
              </c:extLst>
            </c:dLbl>
            <c:dLbl>
              <c:idx val="24"/>
              <c:tx>
                <c:rich>
                  <a:bodyPr/>
                  <a:lstStyle/>
                  <a:p>
                    <a:fld id="{4CD26292-0E66-4717-B3DC-A70D8EF48D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0A6E-4C83-9A06-9C3309B2855E}"/>
                </c:ext>
              </c:extLst>
            </c:dLbl>
            <c:dLbl>
              <c:idx val="25"/>
              <c:tx>
                <c:rich>
                  <a:bodyPr/>
                  <a:lstStyle/>
                  <a:p>
                    <a:fld id="{2A545148-A02A-4785-A05D-C5C9BEC309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D12-44DE-B956-CABCB15EBC04}"/>
                </c:ext>
              </c:extLst>
            </c:dLbl>
            <c:dLbl>
              <c:idx val="26"/>
              <c:tx>
                <c:rich>
                  <a:bodyPr/>
                  <a:lstStyle/>
                  <a:p>
                    <a:fld id="{BF491399-B865-4C0F-B8E1-9028E179CB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D12-44DE-B956-CABCB15EBC04}"/>
                </c:ext>
              </c:extLst>
            </c:dLbl>
            <c:dLbl>
              <c:idx val="27"/>
              <c:tx>
                <c:rich>
                  <a:bodyPr/>
                  <a:lstStyle/>
                  <a:p>
                    <a:fld id="{BE7F3B18-EE65-475D-B1E1-A7E160B620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D12-44DE-B956-CABCB15EBC04}"/>
                </c:ext>
              </c:extLst>
            </c:dLbl>
            <c:dLbl>
              <c:idx val="28"/>
              <c:tx>
                <c:rich>
                  <a:bodyPr/>
                  <a:lstStyle/>
                  <a:p>
                    <a:fld id="{65C120EC-E52A-45D0-8AFF-5F0F8609DB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D12-44DE-B956-CABCB15EBC04}"/>
                </c:ext>
              </c:extLst>
            </c:dLbl>
            <c:dLbl>
              <c:idx val="29"/>
              <c:tx>
                <c:rich>
                  <a:bodyPr/>
                  <a:lstStyle/>
                  <a:p>
                    <a:fld id="{90CF4C72-088A-4FD7-81DB-6195BB08D8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47-486F-B734-6012CEA493B3}"/>
                </c:ext>
              </c:extLst>
            </c:dLbl>
            <c:dLbl>
              <c:idx val="30"/>
              <c:tx>
                <c:rich>
                  <a:bodyPr/>
                  <a:lstStyle/>
                  <a:p>
                    <a:fld id="{BED5C504-1111-4134-9489-215C6D7D67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D12-44DE-B956-CABCB15EBC04}"/>
                </c:ext>
              </c:extLst>
            </c:dLbl>
            <c:dLbl>
              <c:idx val="31"/>
              <c:tx>
                <c:rich>
                  <a:bodyPr/>
                  <a:lstStyle/>
                  <a:p>
                    <a:fld id="{5DF6C8B4-3C7C-497F-8A05-BE73BD7F31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D12-44DE-B956-CABCB15EBC04}"/>
                </c:ext>
              </c:extLst>
            </c:dLbl>
            <c:dLbl>
              <c:idx val="32"/>
              <c:tx>
                <c:rich>
                  <a:bodyPr/>
                  <a:lstStyle/>
                  <a:p>
                    <a:fld id="{5D467668-22F2-4EAC-8D84-8CE9D81F0E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D12-44DE-B956-CABCB15EBC04}"/>
                </c:ext>
              </c:extLst>
            </c:dLbl>
            <c:dLbl>
              <c:idx val="33"/>
              <c:tx>
                <c:rich>
                  <a:bodyPr/>
                  <a:lstStyle/>
                  <a:p>
                    <a:fld id="{ECCE4DFD-5D90-4A68-A79A-83F2D0D0E3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D12-44DE-B956-CABCB15EBC04}"/>
                </c:ext>
              </c:extLst>
            </c:dLbl>
            <c:dLbl>
              <c:idx val="34"/>
              <c:tx>
                <c:rich>
                  <a:bodyPr/>
                  <a:lstStyle/>
                  <a:p>
                    <a:fld id="{3713E316-A7A9-41E2-926A-7E944C0F6F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D12-44DE-B956-CABCB15EBC04}"/>
                </c:ext>
              </c:extLst>
            </c:dLbl>
            <c:dLbl>
              <c:idx val="35"/>
              <c:tx>
                <c:rich>
                  <a:bodyPr/>
                  <a:lstStyle/>
                  <a:p>
                    <a:fld id="{F6D3585B-09CF-4C55-8046-922A1118AC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D12-44DE-B956-CABCB15EBC04}"/>
                </c:ext>
              </c:extLst>
            </c:dLbl>
            <c:dLbl>
              <c:idx val="36"/>
              <c:tx>
                <c:rich>
                  <a:bodyPr/>
                  <a:lstStyle/>
                  <a:p>
                    <a:fld id="{E42C72AA-F439-4B47-9571-C5D430B0E3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D12-44DE-B956-CABCB15EBC04}"/>
                </c:ext>
              </c:extLst>
            </c:dLbl>
            <c:dLbl>
              <c:idx val="37"/>
              <c:tx>
                <c:rich>
                  <a:bodyPr/>
                  <a:lstStyle/>
                  <a:p>
                    <a:fld id="{FE38173B-D63C-4F5F-A0E1-E21C73804D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D12-44DE-B956-CABCB15EBC04}"/>
                </c:ext>
              </c:extLst>
            </c:dLbl>
            <c:dLbl>
              <c:idx val="38"/>
              <c:tx>
                <c:rich>
                  <a:bodyPr/>
                  <a:lstStyle/>
                  <a:p>
                    <a:fld id="{16CAF592-8A18-4DAB-81DE-E6E71FF1C5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D12-44DE-B956-CABCB15EBC04}"/>
                </c:ext>
              </c:extLst>
            </c:dLbl>
            <c:dLbl>
              <c:idx val="39"/>
              <c:tx>
                <c:rich>
                  <a:bodyPr/>
                  <a:lstStyle/>
                  <a:p>
                    <a:fld id="{9B30C5F9-1F44-4EF9-A93D-1ADC1A730B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D12-44DE-B956-CABCB15EBC04}"/>
                </c:ext>
              </c:extLst>
            </c:dLbl>
            <c:dLbl>
              <c:idx val="40"/>
              <c:tx>
                <c:rich>
                  <a:bodyPr/>
                  <a:lstStyle/>
                  <a:p>
                    <a:fld id="{F839C9F3-354B-4095-921A-E4A6A42322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D12-44DE-B956-CABCB15EBC04}"/>
                </c:ext>
              </c:extLst>
            </c:dLbl>
            <c:dLbl>
              <c:idx val="41"/>
              <c:tx>
                <c:rich>
                  <a:bodyPr/>
                  <a:lstStyle/>
                  <a:p>
                    <a:fld id="{790F979F-3863-45AD-A9B0-D37AE0C567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D12-44DE-B956-CABCB15EBC04}"/>
                </c:ext>
              </c:extLst>
            </c:dLbl>
            <c:dLbl>
              <c:idx val="42"/>
              <c:tx>
                <c:rich>
                  <a:bodyPr/>
                  <a:lstStyle/>
                  <a:p>
                    <a:fld id="{C3CC6197-C12B-4191-8988-B14AEB4BE4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D12-44DE-B956-CABCB15EBC04}"/>
                </c:ext>
              </c:extLst>
            </c:dLbl>
            <c:dLbl>
              <c:idx val="43"/>
              <c:tx>
                <c:rich>
                  <a:bodyPr/>
                  <a:lstStyle/>
                  <a:p>
                    <a:fld id="{0A43860E-3A5D-4782-98B5-D05FEC172F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D12-44DE-B956-CABCB15EBC04}"/>
                </c:ext>
              </c:extLst>
            </c:dLbl>
            <c:dLbl>
              <c:idx val="44"/>
              <c:tx>
                <c:rich>
                  <a:bodyPr/>
                  <a:lstStyle/>
                  <a:p>
                    <a:fld id="{DA53B853-CB92-4E73-9B48-83E2AAA6D5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D12-44DE-B956-CABCB15EBC04}"/>
                </c:ext>
              </c:extLst>
            </c:dLbl>
            <c:dLbl>
              <c:idx val="45"/>
              <c:tx>
                <c:rich>
                  <a:bodyPr/>
                  <a:lstStyle/>
                  <a:p>
                    <a:fld id="{C8EA1F23-4176-47A2-BF4C-779FA744BC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D12-44DE-B956-CABCB15EBC04}"/>
                </c:ext>
              </c:extLst>
            </c:dLbl>
            <c:dLbl>
              <c:idx val="46"/>
              <c:tx>
                <c:rich>
                  <a:bodyPr/>
                  <a:lstStyle/>
                  <a:p>
                    <a:fld id="{01A321BC-6FC7-44A5-8B06-2F69DC81BA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D12-44DE-B956-CABCB15EBC04}"/>
                </c:ext>
              </c:extLst>
            </c:dLbl>
            <c:dLbl>
              <c:idx val="47"/>
              <c:tx>
                <c:rich>
                  <a:bodyPr/>
                  <a:lstStyle/>
                  <a:p>
                    <a:fld id="{400D2F4A-E1BB-4258-918E-BCF33E697B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D12-44DE-B956-CABCB15EBC04}"/>
                </c:ext>
              </c:extLst>
            </c:dLbl>
            <c:dLbl>
              <c:idx val="48"/>
              <c:tx>
                <c:rich>
                  <a:bodyPr/>
                  <a:lstStyle/>
                  <a:p>
                    <a:fld id="{79F6227D-0211-4E07-8211-7A751A35C5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D12-44DE-B956-CABCB15EBC04}"/>
                </c:ext>
              </c:extLst>
            </c:dLbl>
            <c:dLbl>
              <c:idx val="49"/>
              <c:tx>
                <c:rich>
                  <a:bodyPr/>
                  <a:lstStyle/>
                  <a:p>
                    <a:fld id="{CEE184F4-A8CD-4392-973A-4F903E6020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D12-44DE-B956-CABCB15EBC04}"/>
                </c:ext>
              </c:extLst>
            </c:dLbl>
            <c:dLbl>
              <c:idx val="50"/>
              <c:tx>
                <c:rich>
                  <a:bodyPr/>
                  <a:lstStyle/>
                  <a:p>
                    <a:fld id="{4B9C1C8D-D36B-49BC-99CC-81736CB82F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D12-44DE-B956-CABCB15EBC04}"/>
                </c:ext>
              </c:extLst>
            </c:dLbl>
            <c:dLbl>
              <c:idx val="51"/>
              <c:tx>
                <c:rich>
                  <a:bodyPr/>
                  <a:lstStyle/>
                  <a:p>
                    <a:fld id="{2D14BB2F-757A-4B42-90B0-DE4C2EB670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D12-44DE-B956-CABCB15EBC04}"/>
                </c:ext>
              </c:extLst>
            </c:dLbl>
            <c:dLbl>
              <c:idx val="52"/>
              <c:tx>
                <c:rich>
                  <a:bodyPr/>
                  <a:lstStyle/>
                  <a:p>
                    <a:fld id="{8204CBD9-C1A6-45EF-8CB4-5DA8FC6894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D12-44DE-B956-CABCB15EBC04}"/>
                </c:ext>
              </c:extLst>
            </c:dLbl>
            <c:dLbl>
              <c:idx val="53"/>
              <c:tx>
                <c:rich>
                  <a:bodyPr/>
                  <a:lstStyle/>
                  <a:p>
                    <a:fld id="{F26AF5F0-1954-433A-821E-660FACFDCC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D12-44DE-B956-CABCB15EBC04}"/>
                </c:ext>
              </c:extLst>
            </c:dLbl>
            <c:dLbl>
              <c:idx val="54"/>
              <c:tx>
                <c:rich>
                  <a:bodyPr/>
                  <a:lstStyle/>
                  <a:p>
                    <a:fld id="{0D1112BF-9DDA-467D-B9E2-532285B1D5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D12-44DE-B956-CABCB15EBC04}"/>
                </c:ext>
              </c:extLst>
            </c:dLbl>
            <c:dLbl>
              <c:idx val="55"/>
              <c:tx>
                <c:rich>
                  <a:bodyPr/>
                  <a:lstStyle/>
                  <a:p>
                    <a:fld id="{7639C332-8C43-4742-B05F-AF362EE608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D12-44DE-B956-CABCB15EBC04}"/>
                </c:ext>
              </c:extLst>
            </c:dLbl>
            <c:dLbl>
              <c:idx val="56"/>
              <c:tx>
                <c:rich>
                  <a:bodyPr/>
                  <a:lstStyle/>
                  <a:p>
                    <a:fld id="{16C0B3BB-341B-49C8-9CDC-086E7EEB2B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8E3F-4D1B-A313-C02BEC0FDBD1}"/>
                </c:ext>
              </c:extLst>
            </c:dLbl>
            <c:dLbl>
              <c:idx val="57"/>
              <c:tx>
                <c:rich>
                  <a:bodyPr/>
                  <a:lstStyle/>
                  <a:p>
                    <a:fld id="{E016D2E6-50AD-43BD-A2F3-669576D23D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8E3F-4D1B-A313-C02BEC0FDBD1}"/>
                </c:ext>
              </c:extLst>
            </c:dLbl>
            <c:dLbl>
              <c:idx val="58"/>
              <c:tx>
                <c:rich>
                  <a:bodyPr/>
                  <a:lstStyle/>
                  <a:p>
                    <a:fld id="{E5B93BC8-515C-4C32-BAB0-FD26B1A53E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8E3F-4D1B-A313-C02BEC0FDBD1}"/>
                </c:ext>
              </c:extLst>
            </c:dLbl>
            <c:dLbl>
              <c:idx val="59"/>
              <c:tx>
                <c:rich>
                  <a:bodyPr/>
                  <a:lstStyle/>
                  <a:p>
                    <a:fld id="{D5E24887-4F73-407C-9B44-C696FCE37B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8E3F-4D1B-A313-C02BEC0FDBD1}"/>
                </c:ext>
              </c:extLst>
            </c:dLbl>
            <c:dLbl>
              <c:idx val="60"/>
              <c:tx>
                <c:rich>
                  <a:bodyPr/>
                  <a:lstStyle/>
                  <a:p>
                    <a:fld id="{5C7473FF-9BD8-41E0-BBA9-5BB803B80B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8E3F-4D1B-A313-C02BEC0FDBD1}"/>
                </c:ext>
              </c:extLst>
            </c:dLbl>
            <c:dLbl>
              <c:idx val="61"/>
              <c:tx>
                <c:rich>
                  <a:bodyPr/>
                  <a:lstStyle/>
                  <a:p>
                    <a:fld id="{15FCB061-F8B0-4346-B443-C87C6FCAA3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8E3F-4D1B-A313-C02BEC0FDBD1}"/>
                </c:ext>
              </c:extLst>
            </c:dLbl>
            <c:dLbl>
              <c:idx val="62"/>
              <c:tx>
                <c:rich>
                  <a:bodyPr/>
                  <a:lstStyle/>
                  <a:p>
                    <a:fld id="{C24CC61A-FD58-4406-B3E3-5C79B4D1E0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8E3F-4D1B-A313-C02BEC0FDBD1}"/>
                </c:ext>
              </c:extLst>
            </c:dLbl>
            <c:dLbl>
              <c:idx val="63"/>
              <c:tx>
                <c:rich>
                  <a:bodyPr/>
                  <a:lstStyle/>
                  <a:p>
                    <a:fld id="{B0403529-1AD5-47CD-9CAC-21A8F902D6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8E3F-4D1B-A313-C02BEC0FDBD1}"/>
                </c:ext>
              </c:extLst>
            </c:dLbl>
            <c:dLbl>
              <c:idx val="64"/>
              <c:tx>
                <c:rich>
                  <a:bodyPr/>
                  <a:lstStyle/>
                  <a:p>
                    <a:fld id="{84E53870-F29A-4520-A18D-0735F4406F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8E3F-4D1B-A313-C02BEC0FDBD1}"/>
                </c:ext>
              </c:extLst>
            </c:dLbl>
            <c:dLbl>
              <c:idx val="65"/>
              <c:tx>
                <c:rich>
                  <a:bodyPr/>
                  <a:lstStyle/>
                  <a:p>
                    <a:fld id="{810C2D59-F324-4219-A8EF-DF058DA211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8E3F-4D1B-A313-C02BEC0FDBD1}"/>
                </c:ext>
              </c:extLst>
            </c:dLbl>
            <c:dLbl>
              <c:idx val="66"/>
              <c:tx>
                <c:rich>
                  <a:bodyPr/>
                  <a:lstStyle/>
                  <a:p>
                    <a:fld id="{E79969B8-FD37-48DD-9992-F668E34992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8E3F-4D1B-A313-C02BEC0FDBD1}"/>
                </c:ext>
              </c:extLst>
            </c:dLbl>
            <c:dLbl>
              <c:idx val="67"/>
              <c:tx>
                <c:rich>
                  <a:bodyPr/>
                  <a:lstStyle/>
                  <a:p>
                    <a:fld id="{B7E8302D-02D3-4EF3-A2EB-ABD80AFCB5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8E3F-4D1B-A313-C02BEC0FDBD1}"/>
                </c:ext>
              </c:extLst>
            </c:dLbl>
            <c:dLbl>
              <c:idx val="68"/>
              <c:tx>
                <c:rich>
                  <a:bodyPr/>
                  <a:lstStyle/>
                  <a:p>
                    <a:fld id="{995E0922-0B9F-4EAE-A030-81D3F86A6E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8E3F-4D1B-A313-C02BEC0FDBD1}"/>
                </c:ext>
              </c:extLst>
            </c:dLbl>
            <c:dLbl>
              <c:idx val="69"/>
              <c:tx>
                <c:rich>
                  <a:bodyPr/>
                  <a:lstStyle/>
                  <a:p>
                    <a:fld id="{B99B9828-007A-4E0E-A722-6B8AD67E34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8E3F-4D1B-A313-C02BEC0FDBD1}"/>
                </c:ext>
              </c:extLst>
            </c:dLbl>
            <c:dLbl>
              <c:idx val="70"/>
              <c:tx>
                <c:rich>
                  <a:bodyPr/>
                  <a:lstStyle/>
                  <a:p>
                    <a:fld id="{4C598FF9-9262-4B0C-8508-DDE5B68C76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8E3F-4D1B-A313-C02BEC0FDBD1}"/>
                </c:ext>
              </c:extLst>
            </c:dLbl>
            <c:dLbl>
              <c:idx val="71"/>
              <c:tx>
                <c:rich>
                  <a:bodyPr/>
                  <a:lstStyle/>
                  <a:p>
                    <a:fld id="{4327D38E-C3F3-48C8-BC46-E6FC2EE46A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8E3F-4D1B-A313-C02BEC0FDBD1}"/>
                </c:ext>
              </c:extLst>
            </c:dLbl>
            <c:dLbl>
              <c:idx val="72"/>
              <c:tx>
                <c:rich>
                  <a:bodyPr/>
                  <a:lstStyle/>
                  <a:p>
                    <a:fld id="{09EA2104-AC05-4561-858E-D36F1394D1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8E3F-4D1B-A313-C02BEC0FDBD1}"/>
                </c:ext>
              </c:extLst>
            </c:dLbl>
            <c:dLbl>
              <c:idx val="73"/>
              <c:tx>
                <c:rich>
                  <a:bodyPr/>
                  <a:lstStyle/>
                  <a:p>
                    <a:fld id="{A2F144EC-8C6B-429A-912D-786008D7D4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8E3F-4D1B-A313-C02BEC0FDBD1}"/>
                </c:ext>
              </c:extLst>
            </c:dLbl>
            <c:dLbl>
              <c:idx val="74"/>
              <c:tx>
                <c:rich>
                  <a:bodyPr/>
                  <a:lstStyle/>
                  <a:p>
                    <a:fld id="{86E474D0-A193-469C-9684-9A37BD3202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8E3F-4D1B-A313-C02BEC0FDBD1}"/>
                </c:ext>
              </c:extLst>
            </c:dLbl>
            <c:dLbl>
              <c:idx val="75"/>
              <c:tx>
                <c:rich>
                  <a:bodyPr/>
                  <a:lstStyle/>
                  <a:p>
                    <a:fld id="{1467DC7B-015D-4B8B-8F99-CAE8CA3AFB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8E3F-4D1B-A313-C02BEC0FDBD1}"/>
                </c:ext>
              </c:extLst>
            </c:dLbl>
            <c:dLbl>
              <c:idx val="76"/>
              <c:tx>
                <c:rich>
                  <a:bodyPr/>
                  <a:lstStyle/>
                  <a:p>
                    <a:fld id="{116A42A5-CCF7-4F9A-8C80-4818872D1B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8E3F-4D1B-A313-C02BEC0FDBD1}"/>
                </c:ext>
              </c:extLst>
            </c:dLbl>
            <c:dLbl>
              <c:idx val="77"/>
              <c:tx>
                <c:rich>
                  <a:bodyPr/>
                  <a:lstStyle/>
                  <a:p>
                    <a:fld id="{3794E5BE-C726-4861-9A00-38B51FC483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8E3F-4D1B-A313-C02BEC0FDBD1}"/>
                </c:ext>
              </c:extLst>
            </c:dLbl>
            <c:dLbl>
              <c:idx val="78"/>
              <c:tx>
                <c:rich>
                  <a:bodyPr/>
                  <a:lstStyle/>
                  <a:p>
                    <a:fld id="{D4C08114-0508-40C6-AE25-68DEDDDF98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8E3F-4D1B-A313-C02BEC0FDBD1}"/>
                </c:ext>
              </c:extLst>
            </c:dLbl>
            <c:dLbl>
              <c:idx val="79"/>
              <c:tx>
                <c:rich>
                  <a:bodyPr/>
                  <a:lstStyle/>
                  <a:p>
                    <a:fld id="{24D01770-77BE-40CB-9592-AB957C0E1C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8E3F-4D1B-A313-C02BEC0FDBD1}"/>
                </c:ext>
              </c:extLst>
            </c:dLbl>
            <c:dLbl>
              <c:idx val="80"/>
              <c:tx>
                <c:rich>
                  <a:bodyPr/>
                  <a:lstStyle/>
                  <a:p>
                    <a:fld id="{2718D68B-4465-4D97-B744-85BF85B06B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8E3F-4D1B-A313-C02BEC0FDBD1}"/>
                </c:ext>
              </c:extLst>
            </c:dLbl>
            <c:dLbl>
              <c:idx val="81"/>
              <c:tx>
                <c:rich>
                  <a:bodyPr/>
                  <a:lstStyle/>
                  <a:p>
                    <a:fld id="{4E7E79DC-377D-4E21-B749-FD7A4B0D68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9-8E3F-4D1B-A313-C02BEC0FDBD1}"/>
                </c:ext>
              </c:extLst>
            </c:dLbl>
            <c:dLbl>
              <c:idx val="82"/>
              <c:tx>
                <c:rich>
                  <a:bodyPr/>
                  <a:lstStyle/>
                  <a:p>
                    <a:fld id="{6DABEECE-0E5B-45AC-8AF5-1095583078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A-8E3F-4D1B-A313-C02BEC0FDBD1}"/>
                </c:ext>
              </c:extLst>
            </c:dLbl>
            <c:dLbl>
              <c:idx val="83"/>
              <c:tx>
                <c:rich>
                  <a:bodyPr/>
                  <a:lstStyle/>
                  <a:p>
                    <a:fld id="{D13DC6F7-3E5B-4456-9573-ED42F1EBF0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B-8E3F-4D1B-A313-C02BEC0FDBD1}"/>
                </c:ext>
              </c:extLst>
            </c:dLbl>
            <c:dLbl>
              <c:idx val="84"/>
              <c:tx>
                <c:rich>
                  <a:bodyPr/>
                  <a:lstStyle/>
                  <a:p>
                    <a:fld id="{0255E8BC-AB96-4D60-A213-297F75025F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C-8E3F-4D1B-A313-C02BEC0FDBD1}"/>
                </c:ext>
              </c:extLst>
            </c:dLbl>
            <c:dLbl>
              <c:idx val="85"/>
              <c:tx>
                <c:rich>
                  <a:bodyPr/>
                  <a:lstStyle/>
                  <a:p>
                    <a:fld id="{71F5DE2A-5F52-4C4B-A6F9-281DBEBE06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D-8E3F-4D1B-A313-C02BEC0FDBD1}"/>
                </c:ext>
              </c:extLst>
            </c:dLbl>
            <c:dLbl>
              <c:idx val="86"/>
              <c:tx>
                <c:rich>
                  <a:bodyPr/>
                  <a:lstStyle/>
                  <a:p>
                    <a:fld id="{D7133C99-BA2A-4145-A448-5E741F681D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E-8E3F-4D1B-A313-C02BEC0FDBD1}"/>
                </c:ext>
              </c:extLst>
            </c:dLbl>
            <c:dLbl>
              <c:idx val="87"/>
              <c:tx>
                <c:rich>
                  <a:bodyPr/>
                  <a:lstStyle/>
                  <a:p>
                    <a:fld id="{08BBA341-C803-489C-BA54-B7571B37F5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F-8E3F-4D1B-A313-C02BEC0FDBD1}"/>
                </c:ext>
              </c:extLst>
            </c:dLbl>
            <c:dLbl>
              <c:idx val="88"/>
              <c:tx>
                <c:rich>
                  <a:bodyPr/>
                  <a:lstStyle/>
                  <a:p>
                    <a:fld id="{77E7534D-43B6-41E5-95AF-410461E4B0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0-8E3F-4D1B-A313-C02BEC0FDBD1}"/>
                </c:ext>
              </c:extLst>
            </c:dLbl>
            <c:dLbl>
              <c:idx val="89"/>
              <c:tx>
                <c:rich>
                  <a:bodyPr/>
                  <a:lstStyle/>
                  <a:p>
                    <a:fld id="{F99959EB-F010-41FD-92D1-C7058B73D8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1-8E3F-4D1B-A313-C02BEC0FDBD1}"/>
                </c:ext>
              </c:extLst>
            </c:dLbl>
            <c:dLbl>
              <c:idx val="90"/>
              <c:tx>
                <c:rich>
                  <a:bodyPr/>
                  <a:lstStyle/>
                  <a:p>
                    <a:fld id="{A1EE59AC-FDE5-4538-BA3D-97B1E7E353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2-8E3F-4D1B-A313-C02BEC0FDBD1}"/>
                </c:ext>
              </c:extLst>
            </c:dLbl>
            <c:dLbl>
              <c:idx val="91"/>
              <c:tx>
                <c:rich>
                  <a:bodyPr/>
                  <a:lstStyle/>
                  <a:p>
                    <a:fld id="{E11AFC03-015D-4399-AFD0-A0A0A66735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3-8E3F-4D1B-A313-C02BEC0FDBD1}"/>
                </c:ext>
              </c:extLst>
            </c:dLbl>
            <c:dLbl>
              <c:idx val="92"/>
              <c:tx>
                <c:rich>
                  <a:bodyPr/>
                  <a:lstStyle/>
                  <a:p>
                    <a:fld id="{AA821F40-D392-48D3-8775-8CD6542346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4-8E3F-4D1B-A313-C02BEC0FDBD1}"/>
                </c:ext>
              </c:extLst>
            </c:dLbl>
            <c:dLbl>
              <c:idx val="93"/>
              <c:tx>
                <c:rich>
                  <a:bodyPr/>
                  <a:lstStyle/>
                  <a:p>
                    <a:fld id="{36A96266-AD71-4768-AD19-61B4D20189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5-8E3F-4D1B-A313-C02BEC0FDBD1}"/>
                </c:ext>
              </c:extLst>
            </c:dLbl>
            <c:dLbl>
              <c:idx val="94"/>
              <c:tx>
                <c:rich>
                  <a:bodyPr/>
                  <a:lstStyle/>
                  <a:p>
                    <a:fld id="{3DE18D7F-DDFF-4B1F-B262-A50BDB4B16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6-8E3F-4D1B-A313-C02BEC0FDBD1}"/>
                </c:ext>
              </c:extLst>
            </c:dLbl>
            <c:dLbl>
              <c:idx val="95"/>
              <c:tx>
                <c:rich>
                  <a:bodyPr/>
                  <a:lstStyle/>
                  <a:p>
                    <a:fld id="{393EDE74-C9DF-40A2-BA07-02CB3C9C2F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7-8E3F-4D1B-A313-C02BEC0FDBD1}"/>
                </c:ext>
              </c:extLst>
            </c:dLbl>
            <c:dLbl>
              <c:idx val="96"/>
              <c:tx>
                <c:rich>
                  <a:bodyPr/>
                  <a:lstStyle/>
                  <a:p>
                    <a:fld id="{9AD21B40-68A5-4629-A10C-541F486A0F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8-8E3F-4D1B-A313-C02BEC0FDBD1}"/>
                </c:ext>
              </c:extLst>
            </c:dLbl>
            <c:dLbl>
              <c:idx val="97"/>
              <c:tx>
                <c:rich>
                  <a:bodyPr/>
                  <a:lstStyle/>
                  <a:p>
                    <a:fld id="{A0409744-8EA4-4417-B85B-D07A946FD6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9-8E3F-4D1B-A313-C02BEC0FDBD1}"/>
                </c:ext>
              </c:extLst>
            </c:dLbl>
            <c:dLbl>
              <c:idx val="98"/>
              <c:tx>
                <c:rich>
                  <a:bodyPr/>
                  <a:lstStyle/>
                  <a:p>
                    <a:fld id="{10BF5492-F394-4966-9002-4859E83091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A-8E3F-4D1B-A313-C02BEC0FDBD1}"/>
                </c:ext>
              </c:extLst>
            </c:dLbl>
            <c:dLbl>
              <c:idx val="99"/>
              <c:tx>
                <c:rich>
                  <a:bodyPr/>
                  <a:lstStyle/>
                  <a:p>
                    <a:fld id="{AB7CCD17-7CA6-4802-BBDE-928982E5F7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B-8E3F-4D1B-A313-C02BEC0FDBD1}"/>
                </c:ext>
              </c:extLst>
            </c:dLbl>
            <c:dLbl>
              <c:idx val="100"/>
              <c:tx>
                <c:rich>
                  <a:bodyPr/>
                  <a:lstStyle/>
                  <a:p>
                    <a:fld id="{E065B2E2-3266-4B7E-B67B-8969ADA2A1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C-8E3F-4D1B-A313-C02BEC0FDBD1}"/>
                </c:ext>
              </c:extLst>
            </c:dLbl>
            <c:dLbl>
              <c:idx val="101"/>
              <c:tx>
                <c:rich>
                  <a:bodyPr/>
                  <a:lstStyle/>
                  <a:p>
                    <a:fld id="{6AE58151-1929-4929-B857-542C7F80A4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D-8E3F-4D1B-A313-C02BEC0FDBD1}"/>
                </c:ext>
              </c:extLst>
            </c:dLbl>
            <c:dLbl>
              <c:idx val="102"/>
              <c:tx>
                <c:rich>
                  <a:bodyPr/>
                  <a:lstStyle/>
                  <a:p>
                    <a:fld id="{CB368F6B-F71F-4BB1-97E6-23406C37BB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E-8E3F-4D1B-A313-C02BEC0FDBD1}"/>
                </c:ext>
              </c:extLst>
            </c:dLbl>
            <c:dLbl>
              <c:idx val="103"/>
              <c:tx>
                <c:rich>
                  <a:bodyPr/>
                  <a:lstStyle/>
                  <a:p>
                    <a:fld id="{283BAA5B-ED67-4B39-BC45-F5280B60D5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F-8E3F-4D1B-A313-C02BEC0FDBD1}"/>
                </c:ext>
              </c:extLst>
            </c:dLbl>
            <c:dLbl>
              <c:idx val="104"/>
              <c:tx>
                <c:rich>
                  <a:bodyPr/>
                  <a:lstStyle/>
                  <a:p>
                    <a:fld id="{60F6B571-F939-4FB6-8B9D-3EA6990CC7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0-8E3F-4D1B-A313-C02BEC0FDBD1}"/>
                </c:ext>
              </c:extLst>
            </c:dLbl>
            <c:dLbl>
              <c:idx val="105"/>
              <c:tx>
                <c:rich>
                  <a:bodyPr/>
                  <a:lstStyle/>
                  <a:p>
                    <a:fld id="{DE4DB5A3-467F-4DE3-91AC-73019A577C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1-8E3F-4D1B-A313-C02BEC0FDBD1}"/>
                </c:ext>
              </c:extLst>
            </c:dLbl>
            <c:dLbl>
              <c:idx val="106"/>
              <c:tx>
                <c:rich>
                  <a:bodyPr/>
                  <a:lstStyle/>
                  <a:p>
                    <a:fld id="{92C69F58-6B1D-4B3E-A5DD-6BBFCDD301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2-8E3F-4D1B-A313-C02BEC0FDBD1}"/>
                </c:ext>
              </c:extLst>
            </c:dLbl>
            <c:dLbl>
              <c:idx val="107"/>
              <c:tx>
                <c:rich>
                  <a:bodyPr/>
                  <a:lstStyle/>
                  <a:p>
                    <a:fld id="{018E1203-C6F0-4CFF-841A-1C0914F3F8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3-8E3F-4D1B-A313-C02BEC0FDBD1}"/>
                </c:ext>
              </c:extLst>
            </c:dLbl>
            <c:dLbl>
              <c:idx val="108"/>
              <c:tx>
                <c:rich>
                  <a:bodyPr/>
                  <a:lstStyle/>
                  <a:p>
                    <a:fld id="{1C3A0BB9-D801-4005-8AEC-966B3F2754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4-8E3F-4D1B-A313-C02BEC0FDBD1}"/>
                </c:ext>
              </c:extLst>
            </c:dLbl>
            <c:dLbl>
              <c:idx val="109"/>
              <c:tx>
                <c:rich>
                  <a:bodyPr/>
                  <a:lstStyle/>
                  <a:p>
                    <a:fld id="{41206DF6-7DA0-46E1-81DF-397E7E273D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5-8E3F-4D1B-A313-C02BEC0FDBD1}"/>
                </c:ext>
              </c:extLst>
            </c:dLbl>
            <c:dLbl>
              <c:idx val="110"/>
              <c:tx>
                <c:rich>
                  <a:bodyPr/>
                  <a:lstStyle/>
                  <a:p>
                    <a:fld id="{6D261362-294A-483E-9C7B-BE1776995A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6-8E3F-4D1B-A313-C02BEC0FDBD1}"/>
                </c:ext>
              </c:extLst>
            </c:dLbl>
            <c:dLbl>
              <c:idx val="111"/>
              <c:tx>
                <c:rich>
                  <a:bodyPr/>
                  <a:lstStyle/>
                  <a:p>
                    <a:fld id="{3ADB0908-653D-45E5-A5E6-89003A3892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7-8E3F-4D1B-A313-C02BEC0FDBD1}"/>
                </c:ext>
              </c:extLst>
            </c:dLbl>
            <c:dLbl>
              <c:idx val="112"/>
              <c:tx>
                <c:rich>
                  <a:bodyPr/>
                  <a:lstStyle/>
                  <a:p>
                    <a:fld id="{0DC47412-EFDC-4082-9F94-377773469C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8-8E3F-4D1B-A313-C02BEC0FDBD1}"/>
                </c:ext>
              </c:extLst>
            </c:dLbl>
            <c:dLbl>
              <c:idx val="113"/>
              <c:tx>
                <c:rich>
                  <a:bodyPr/>
                  <a:lstStyle/>
                  <a:p>
                    <a:fld id="{D875DB50-D825-4E04-9087-B2F2A3A83A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9-8E3F-4D1B-A313-C02BEC0FDBD1}"/>
                </c:ext>
              </c:extLst>
            </c:dLbl>
            <c:dLbl>
              <c:idx val="114"/>
              <c:tx>
                <c:rich>
                  <a:bodyPr/>
                  <a:lstStyle/>
                  <a:p>
                    <a:fld id="{60DC8D54-1903-47A2-ABB1-328964E590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A-8E3F-4D1B-A313-C02BEC0FDBD1}"/>
                </c:ext>
              </c:extLst>
            </c:dLbl>
            <c:dLbl>
              <c:idx val="115"/>
              <c:tx>
                <c:rich>
                  <a:bodyPr/>
                  <a:lstStyle/>
                  <a:p>
                    <a:fld id="{0BA74CCE-7149-4B68-A9B5-0706D7C5DE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D$2:$D$117</c:f>
              <c:numCache>
                <c:formatCode>General</c:formatCode>
                <c:ptCount val="116"/>
                <c:pt idx="0">
                  <c:v>1</c:v>
                </c:pt>
                <c:pt idx="1">
                  <c:v>1</c:v>
                </c:pt>
                <c:pt idx="2">
                  <c:v>1</c:v>
                </c:pt>
                <c:pt idx="3">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15" formatCode="0">
                  <c:v>1</c:v>
                </c:pt>
                <c:pt idx="16" formatCode="0">
                  <c:v>1</c:v>
                </c:pt>
                <c:pt idx="17" formatCode="0">
                  <c:v>2</c:v>
                </c:pt>
                <c:pt idx="18" formatCode="0">
                  <c:v>1</c:v>
                </c:pt>
                <c:pt idx="19" formatCode="0">
                  <c:v>2</c:v>
                </c:pt>
                <c:pt idx="20" formatCode="0">
                  <c:v>2</c:v>
                </c:pt>
                <c:pt idx="21" formatCode="0">
                  <c:v>2</c:v>
                </c:pt>
                <c:pt idx="22" formatCode="0">
                  <c:v>2</c:v>
                </c:pt>
                <c:pt idx="23" formatCode="0">
                  <c:v>2</c:v>
                </c:pt>
                <c:pt idx="24" formatCode="0">
                  <c:v>2</c:v>
                </c:pt>
                <c:pt idx="25" formatCode="0">
                  <c:v>2</c:v>
                </c:pt>
                <c:pt idx="26" formatCode="0">
                  <c:v>2</c:v>
                </c:pt>
                <c:pt idx="27">
                  <c:v>2</c:v>
                </c:pt>
                <c:pt idx="28">
                  <c:v>2</c:v>
                </c:pt>
                <c:pt idx="29">
                  <c:v>2</c:v>
                </c:pt>
                <c:pt idx="30">
                  <c:v>2</c:v>
                </c:pt>
                <c:pt idx="31">
                  <c:v>3</c:v>
                </c:pt>
                <c:pt idx="32">
                  <c:v>3</c:v>
                </c:pt>
                <c:pt idx="33">
                  <c:v>3</c:v>
                </c:pt>
                <c:pt idx="34">
                  <c:v>3</c:v>
                </c:pt>
                <c:pt idx="35">
                  <c:v>3</c:v>
                </c:pt>
                <c:pt idx="36">
                  <c:v>3</c:v>
                </c:pt>
                <c:pt idx="37">
                  <c:v>3</c:v>
                </c:pt>
                <c:pt idx="38">
                  <c:v>3</c:v>
                </c:pt>
                <c:pt idx="39">
                  <c:v>3</c:v>
                </c:pt>
                <c:pt idx="40">
                  <c:v>3</c:v>
                </c:pt>
                <c:pt idx="41">
                  <c:v>3</c:v>
                </c:pt>
                <c:pt idx="42">
                  <c:v>3</c:v>
                </c:pt>
                <c:pt idx="43">
                  <c:v>3</c:v>
                </c:pt>
                <c:pt idx="44">
                  <c:v>4</c:v>
                </c:pt>
                <c:pt idx="45">
                  <c:v>4</c:v>
                </c:pt>
                <c:pt idx="46">
                  <c:v>4</c:v>
                </c:pt>
                <c:pt idx="47">
                  <c:v>4</c:v>
                </c:pt>
                <c:pt idx="48">
                  <c:v>4</c:v>
                </c:pt>
                <c:pt idx="49">
                  <c:v>4</c:v>
                </c:pt>
                <c:pt idx="50">
                  <c:v>4</c:v>
                </c:pt>
                <c:pt idx="51">
                  <c:v>4</c:v>
                </c:pt>
                <c:pt idx="52">
                  <c:v>4</c:v>
                </c:pt>
                <c:pt idx="53">
                  <c:v>4</c:v>
                </c:pt>
                <c:pt idx="54">
                  <c:v>4</c:v>
                </c:pt>
                <c:pt idx="55">
                  <c:v>4</c:v>
                </c:pt>
                <c:pt idx="56">
                  <c:v>4</c:v>
                </c:pt>
                <c:pt idx="57">
                  <c:v>4</c:v>
                </c:pt>
                <c:pt idx="58">
                  <c:v>4</c:v>
                </c:pt>
                <c:pt idx="59">
                  <c:v>4</c:v>
                </c:pt>
                <c:pt idx="60">
                  <c:v>4</c:v>
                </c:pt>
                <c:pt idx="61">
                  <c:v>4</c:v>
                </c:pt>
                <c:pt idx="62">
                  <c:v>4</c:v>
                </c:pt>
                <c:pt idx="63">
                  <c:v>4</c:v>
                </c:pt>
                <c:pt idx="64">
                  <c:v>4</c:v>
                </c:pt>
                <c:pt idx="65">
                  <c:v>4</c:v>
                </c:pt>
                <c:pt idx="66">
                  <c:v>4</c:v>
                </c:pt>
                <c:pt idx="67">
                  <c:v>4</c:v>
                </c:pt>
                <c:pt idx="68">
                  <c:v>5</c:v>
                </c:pt>
                <c:pt idx="69">
                  <c:v>5</c:v>
                </c:pt>
                <c:pt idx="70">
                  <c:v>5</c:v>
                </c:pt>
                <c:pt idx="71">
                  <c:v>5</c:v>
                </c:pt>
                <c:pt idx="72">
                  <c:v>5</c:v>
                </c:pt>
                <c:pt idx="73">
                  <c:v>5</c:v>
                </c:pt>
                <c:pt idx="74">
                  <c:v>5</c:v>
                </c:pt>
                <c:pt idx="75">
                  <c:v>5</c:v>
                </c:pt>
                <c:pt idx="76">
                  <c:v>5</c:v>
                </c:pt>
                <c:pt idx="77">
                  <c:v>5</c:v>
                </c:pt>
                <c:pt idx="78">
                  <c:v>5</c:v>
                </c:pt>
                <c:pt idx="79">
                  <c:v>5</c:v>
                </c:pt>
                <c:pt idx="80">
                  <c:v>6</c:v>
                </c:pt>
                <c:pt idx="81">
                  <c:v>6</c:v>
                </c:pt>
                <c:pt idx="82">
                  <c:v>6</c:v>
                </c:pt>
                <c:pt idx="83">
                  <c:v>6</c:v>
                </c:pt>
                <c:pt idx="84">
                  <c:v>6</c:v>
                </c:pt>
                <c:pt idx="85">
                  <c:v>6</c:v>
                </c:pt>
                <c:pt idx="86">
                  <c:v>6</c:v>
                </c:pt>
                <c:pt idx="87">
                  <c:v>6</c:v>
                </c:pt>
                <c:pt idx="88">
                  <c:v>6</c:v>
                </c:pt>
                <c:pt idx="89">
                  <c:v>6</c:v>
                </c:pt>
                <c:pt idx="90">
                  <c:v>6</c:v>
                </c:pt>
                <c:pt idx="91">
                  <c:v>6</c:v>
                </c:pt>
                <c:pt idx="92">
                  <c:v>6</c:v>
                </c:pt>
                <c:pt idx="93">
                  <c:v>7</c:v>
                </c:pt>
                <c:pt idx="94">
                  <c:v>7</c:v>
                </c:pt>
                <c:pt idx="95">
                  <c:v>7</c:v>
                </c:pt>
                <c:pt idx="96">
                  <c:v>7</c:v>
                </c:pt>
                <c:pt idx="97">
                  <c:v>7</c:v>
                </c:pt>
                <c:pt idx="98">
                  <c:v>7</c:v>
                </c:pt>
                <c:pt idx="99">
                  <c:v>7</c:v>
                </c:pt>
                <c:pt idx="100">
                  <c:v>7</c:v>
                </c:pt>
                <c:pt idx="101">
                  <c:v>7</c:v>
                </c:pt>
                <c:pt idx="102">
                  <c:v>7</c:v>
                </c:pt>
                <c:pt idx="103">
                  <c:v>7</c:v>
                </c:pt>
                <c:pt idx="104">
                  <c:v>7</c:v>
                </c:pt>
                <c:pt idx="105">
                  <c:v>8</c:v>
                </c:pt>
                <c:pt idx="106">
                  <c:v>8</c:v>
                </c:pt>
                <c:pt idx="107">
                  <c:v>8</c:v>
                </c:pt>
                <c:pt idx="108">
                  <c:v>8</c:v>
                </c:pt>
                <c:pt idx="109">
                  <c:v>8</c:v>
                </c:pt>
                <c:pt idx="110">
                  <c:v>8</c:v>
                </c:pt>
                <c:pt idx="111">
                  <c:v>8</c:v>
                </c:pt>
                <c:pt idx="112">
                  <c:v>8</c:v>
                </c:pt>
                <c:pt idx="113">
                  <c:v>8</c:v>
                </c:pt>
                <c:pt idx="114">
                  <c:v>8</c:v>
                </c:pt>
                <c:pt idx="115">
                  <c:v>8</c:v>
                </c:pt>
              </c:numCache>
            </c:numRef>
          </c:xVal>
          <c:yVal>
            <c:numRef>
              <c:f>Sheet1!$B$2:$B$117</c:f>
              <c:numCache>
                <c:formatCode>0%;\-0%;0%</c:formatCode>
                <c:ptCount val="116"/>
                <c:pt idx="0">
                  <c:v>0.33537119853666614</c:v>
                </c:pt>
                <c:pt idx="1">
                  <c:v>1.3110575620733895</c:v>
                </c:pt>
                <c:pt idx="2">
                  <c:v>0.12281129115912857</c:v>
                </c:pt>
                <c:pt idx="3">
                  <c:v>0.52740423038450002</c:v>
                </c:pt>
                <c:pt idx="4">
                  <c:v>0.23394614817291179</c:v>
                </c:pt>
                <c:pt idx="5">
                  <c:v>0.40424723346828612</c:v>
                </c:pt>
                <c:pt idx="6">
                  <c:v>1.0381094546405629</c:v>
                </c:pt>
                <c:pt idx="7">
                  <c:v>0.39464140468177511</c:v>
                </c:pt>
                <c:pt idx="8">
                  <c:v>1.0804710500490677</c:v>
                </c:pt>
                <c:pt idx="9">
                  <c:v>0.29756844074137051</c:v>
                </c:pt>
                <c:pt idx="10">
                  <c:v>0.34245897269923464</c:v>
                </c:pt>
                <c:pt idx="11">
                  <c:v>0.64309733708988459</c:v>
                </c:pt>
                <c:pt idx="12">
                  <c:v>7.6182838813151563E-3</c:v>
                </c:pt>
                <c:pt idx="13">
                  <c:v>7.2727272727272724E-2</c:v>
                </c:pt>
                <c:pt idx="14">
                  <c:v>9.4564818215203822E-2</c:v>
                </c:pt>
                <c:pt idx="15">
                  <c:v>0.97732228521587439</c:v>
                </c:pt>
                <c:pt idx="16">
                  <c:v>0.12916246215943492</c:v>
                </c:pt>
                <c:pt idx="17">
                  <c:v>0</c:v>
                </c:pt>
                <c:pt idx="18">
                  <c:v>0</c:v>
                </c:pt>
                <c:pt idx="19">
                  <c:v>0.67651164854893464</c:v>
                </c:pt>
                <c:pt idx="20">
                  <c:v>1.189595592135231</c:v>
                </c:pt>
                <c:pt idx="21">
                  <c:v>0.17901899226560691</c:v>
                </c:pt>
                <c:pt idx="22">
                  <c:v>1.1122736936699982</c:v>
                </c:pt>
                <c:pt idx="23">
                  <c:v>0.85910295216250121</c:v>
                </c:pt>
                <c:pt idx="24">
                  <c:v>0.98060814099444116</c:v>
                </c:pt>
                <c:pt idx="25">
                  <c:v>0.54450632951838152</c:v>
                </c:pt>
                <c:pt idx="26">
                  <c:v>0.56422668334309645</c:v>
                </c:pt>
                <c:pt idx="27">
                  <c:v>0.30859076520030565</c:v>
                </c:pt>
                <c:pt idx="28">
                  <c:v>-5.088408644400786E-2</c:v>
                </c:pt>
                <c:pt idx="29">
                  <c:v>0.48655046266408436</c:v>
                </c:pt>
                <c:pt idx="30">
                  <c:v>5.8252427184466021E-2</c:v>
                </c:pt>
                <c:pt idx="31">
                  <c:v>0.57528207397007924</c:v>
                </c:pt>
                <c:pt idx="32">
                  <c:v>0</c:v>
                </c:pt>
                <c:pt idx="33">
                  <c:v>0.34969330141134647</c:v>
                </c:pt>
                <c:pt idx="34">
                  <c:v>9.3618913842698215E-2</c:v>
                </c:pt>
                <c:pt idx="35">
                  <c:v>0.39086369781125707</c:v>
                </c:pt>
                <c:pt idx="36">
                  <c:v>0.53102946813067886</c:v>
                </c:pt>
                <c:pt idx="37">
                  <c:v>0.30671829359418518</c:v>
                </c:pt>
                <c:pt idx="38">
                  <c:v>4.7373658397896083E-2</c:v>
                </c:pt>
                <c:pt idx="39">
                  <c:v>9.8011706773204491E-2</c:v>
                </c:pt>
                <c:pt idx="40">
                  <c:v>5.9622372365136428E-2</c:v>
                </c:pt>
                <c:pt idx="41">
                  <c:v>0.3325076129317282</c:v>
                </c:pt>
                <c:pt idx="42">
                  <c:v>1.6811941832822908E-2</c:v>
                </c:pt>
                <c:pt idx="43">
                  <c:v>0.13383247543284979</c:v>
                </c:pt>
                <c:pt idx="44">
                  <c:v>0.18520227334689512</c:v>
                </c:pt>
                <c:pt idx="45">
                  <c:v>0.15534287581423784</c:v>
                </c:pt>
                <c:pt idx="46">
                  <c:v>0.27216813979063992</c:v>
                </c:pt>
                <c:pt idx="47">
                  <c:v>0.14428544647878522</c:v>
                </c:pt>
                <c:pt idx="48">
                  <c:v>8.9574245868403263E-2</c:v>
                </c:pt>
                <c:pt idx="49">
                  <c:v>0.29961779961779961</c:v>
                </c:pt>
                <c:pt idx="50">
                  <c:v>0.32942695401728078</c:v>
                </c:pt>
                <c:pt idx="51">
                  <c:v>0.79519295870006768</c:v>
                </c:pt>
                <c:pt idx="52">
                  <c:v>5.1974626560261916E-2</c:v>
                </c:pt>
                <c:pt idx="53">
                  <c:v>-2.5057825751734774E-2</c:v>
                </c:pt>
                <c:pt idx="54">
                  <c:v>-0.28899835796387519</c:v>
                </c:pt>
                <c:pt idx="55">
                  <c:v>0</c:v>
                </c:pt>
                <c:pt idx="56" formatCode="0.00%">
                  <c:v>0.18520227334689512</c:v>
                </c:pt>
                <c:pt idx="57" formatCode="0.00%">
                  <c:v>0.15534287581423784</c:v>
                </c:pt>
                <c:pt idx="58" formatCode="0.00%">
                  <c:v>0.27216813979063992</c:v>
                </c:pt>
                <c:pt idx="59" formatCode="0.00%">
                  <c:v>0.14428544647878522</c:v>
                </c:pt>
                <c:pt idx="60" formatCode="0.00%">
                  <c:v>8.9574245868403263E-2</c:v>
                </c:pt>
                <c:pt idx="61" formatCode="0.00%">
                  <c:v>0.29961779961779961</c:v>
                </c:pt>
                <c:pt idx="62" formatCode="0.00%">
                  <c:v>0.32942695401728078</c:v>
                </c:pt>
                <c:pt idx="63" formatCode="0.00%">
                  <c:v>0.79519295870006768</c:v>
                </c:pt>
                <c:pt idx="64" formatCode="0.00%">
                  <c:v>5.1974626560261916E-2</c:v>
                </c:pt>
                <c:pt idx="65" formatCode="0.00%">
                  <c:v>-2.5057825751734774E-2</c:v>
                </c:pt>
                <c:pt idx="66" formatCode="0.00%">
                  <c:v>-0.28899835796387519</c:v>
                </c:pt>
                <c:pt idx="67" formatCode="0.00%">
                  <c:v>0</c:v>
                </c:pt>
                <c:pt idx="68" formatCode="General">
                  <c:v>0.18520227334689512</c:v>
                </c:pt>
                <c:pt idx="69" formatCode="General">
                  <c:v>0.15534287581423784</c:v>
                </c:pt>
                <c:pt idx="70" formatCode="General">
                  <c:v>0.27216813979063992</c:v>
                </c:pt>
                <c:pt idx="71" formatCode="General">
                  <c:v>0.14428544647878522</c:v>
                </c:pt>
                <c:pt idx="72" formatCode="General">
                  <c:v>8.9574245868403263E-2</c:v>
                </c:pt>
                <c:pt idx="73" formatCode="General">
                  <c:v>0.29961779961779961</c:v>
                </c:pt>
                <c:pt idx="74" formatCode="General">
                  <c:v>0.32942695401728078</c:v>
                </c:pt>
                <c:pt idx="75" formatCode="General">
                  <c:v>0.79519295870006768</c:v>
                </c:pt>
                <c:pt idx="76" formatCode="General">
                  <c:v>5.1974626560261916E-2</c:v>
                </c:pt>
                <c:pt idx="77" formatCode="General">
                  <c:v>-2.5057825751734774E-2</c:v>
                </c:pt>
                <c:pt idx="78" formatCode="General">
                  <c:v>-0.28899835796387519</c:v>
                </c:pt>
                <c:pt idx="79" formatCode="General">
                  <c:v>0</c:v>
                </c:pt>
                <c:pt idx="80" formatCode="General">
                  <c:v>0</c:v>
                </c:pt>
                <c:pt idx="81" formatCode="General">
                  <c:v>0.18520227334689512</c:v>
                </c:pt>
                <c:pt idx="82" formatCode="General">
                  <c:v>0.15534287581423784</c:v>
                </c:pt>
                <c:pt idx="83" formatCode="General">
                  <c:v>0.27216813979063992</c:v>
                </c:pt>
                <c:pt idx="84" formatCode="General">
                  <c:v>0.14428544647878522</c:v>
                </c:pt>
                <c:pt idx="85" formatCode="General">
                  <c:v>8.9574245868403263E-2</c:v>
                </c:pt>
                <c:pt idx="86" formatCode="General">
                  <c:v>0.29961779961779961</c:v>
                </c:pt>
                <c:pt idx="87" formatCode="General">
                  <c:v>0.32942695401728078</c:v>
                </c:pt>
                <c:pt idx="88" formatCode="General">
                  <c:v>0.79519295870006768</c:v>
                </c:pt>
                <c:pt idx="89" formatCode="General">
                  <c:v>5.1974626560261916E-2</c:v>
                </c:pt>
                <c:pt idx="90" formatCode="General">
                  <c:v>-2.5057825751734774E-2</c:v>
                </c:pt>
                <c:pt idx="91" formatCode="General">
                  <c:v>-0.28899835796387519</c:v>
                </c:pt>
                <c:pt idx="92" formatCode="General">
                  <c:v>0</c:v>
                </c:pt>
                <c:pt idx="93" formatCode="General">
                  <c:v>0.18520227334689512</c:v>
                </c:pt>
                <c:pt idx="94" formatCode="General">
                  <c:v>0.15534287581423784</c:v>
                </c:pt>
                <c:pt idx="95" formatCode="General">
                  <c:v>0.27216813979063992</c:v>
                </c:pt>
                <c:pt idx="96" formatCode="General">
                  <c:v>0.14428544647878522</c:v>
                </c:pt>
                <c:pt idx="97" formatCode="General">
                  <c:v>8.9574245868403263E-2</c:v>
                </c:pt>
                <c:pt idx="98" formatCode="General">
                  <c:v>0.29961779961779961</c:v>
                </c:pt>
                <c:pt idx="99" formatCode="General">
                  <c:v>0.32942695401728078</c:v>
                </c:pt>
                <c:pt idx="100" formatCode="General">
                  <c:v>0.79519295870006768</c:v>
                </c:pt>
                <c:pt idx="101" formatCode="General">
                  <c:v>5.1974626560261916E-2</c:v>
                </c:pt>
                <c:pt idx="102" formatCode="General">
                  <c:v>-2.5057825751734774E-2</c:v>
                </c:pt>
                <c:pt idx="103" formatCode="General">
                  <c:v>-0.28899835796387519</c:v>
                </c:pt>
                <c:pt idx="104" formatCode="General">
                  <c:v>0</c:v>
                </c:pt>
                <c:pt idx="105" formatCode="General">
                  <c:v>0.15534287581423784</c:v>
                </c:pt>
                <c:pt idx="106" formatCode="General">
                  <c:v>0.27216813979063992</c:v>
                </c:pt>
                <c:pt idx="107" formatCode="General">
                  <c:v>0.14428544647878522</c:v>
                </c:pt>
                <c:pt idx="108" formatCode="General">
                  <c:v>8.9574245868403263E-2</c:v>
                </c:pt>
                <c:pt idx="109" formatCode="General">
                  <c:v>0.29961779961779961</c:v>
                </c:pt>
                <c:pt idx="110" formatCode="General">
                  <c:v>0.32942695401728078</c:v>
                </c:pt>
                <c:pt idx="111" formatCode="General">
                  <c:v>0.79519295870006768</c:v>
                </c:pt>
                <c:pt idx="112" formatCode="General">
                  <c:v>5.1974626560261916E-2</c:v>
                </c:pt>
                <c:pt idx="113" formatCode="General">
                  <c:v>-2.5057825751734774E-2</c:v>
                </c:pt>
                <c:pt idx="114" formatCode="General">
                  <c:v>-0.28899835796387519</c:v>
                </c:pt>
                <c:pt idx="115" formatCode="General">
                  <c:v>0</c:v>
                </c:pt>
              </c:numCache>
            </c:numRef>
          </c:yVal>
          <c:bubbleSize>
            <c:numRef>
              <c:f>Sheet1!$C$2:$C$117</c:f>
              <c:numCache>
                <c:formatCode>0%;\-0%;0%</c:formatCode>
                <c:ptCount val="116"/>
                <c:pt idx="0">
                  <c:v>4111084</c:v>
                </c:pt>
                <c:pt idx="1">
                  <c:v>1160533</c:v>
                </c:pt>
                <c:pt idx="2">
                  <c:v>1117212</c:v>
                </c:pt>
                <c:pt idx="3">
                  <c:v>504428</c:v>
                </c:pt>
                <c:pt idx="4">
                  <c:v>459435</c:v>
                </c:pt>
                <c:pt idx="5">
                  <c:v>386077</c:v>
                </c:pt>
                <c:pt idx="6">
                  <c:v>277647</c:v>
                </c:pt>
                <c:pt idx="7">
                  <c:v>222216</c:v>
                </c:pt>
                <c:pt idx="8">
                  <c:v>108739</c:v>
                </c:pt>
                <c:pt idx="9">
                  <c:v>100141</c:v>
                </c:pt>
                <c:pt idx="10">
                  <c:v>18851</c:v>
                </c:pt>
                <c:pt idx="11">
                  <c:v>13981</c:v>
                </c:pt>
                <c:pt idx="12">
                  <c:v>10864</c:v>
                </c:pt>
                <c:pt idx="13">
                  <c:v>7717</c:v>
                </c:pt>
                <c:pt idx="14">
                  <c:v>7439</c:v>
                </c:pt>
                <c:pt idx="15">
                  <c:v>4428</c:v>
                </c:pt>
                <c:pt idx="16">
                  <c:v>1120</c:v>
                </c:pt>
                <c:pt idx="17">
                  <c:v>21</c:v>
                </c:pt>
                <c:pt idx="18">
                  <c:v>0</c:v>
                </c:pt>
                <c:pt idx="19">
                  <c:v>12037304</c:v>
                </c:pt>
                <c:pt idx="20">
                  <c:v>5124041</c:v>
                </c:pt>
                <c:pt idx="21">
                  <c:v>4271666</c:v>
                </c:pt>
                <c:pt idx="22">
                  <c:v>1061364</c:v>
                </c:pt>
                <c:pt idx="23">
                  <c:v>786468</c:v>
                </c:pt>
                <c:pt idx="24">
                  <c:v>606283</c:v>
                </c:pt>
                <c:pt idx="25">
                  <c:v>479058</c:v>
                </c:pt>
                <c:pt idx="26">
                  <c:v>306437</c:v>
                </c:pt>
                <c:pt idx="27">
                  <c:v>83930</c:v>
                </c:pt>
                <c:pt idx="28">
                  <c:v>32553</c:v>
                </c:pt>
                <c:pt idx="29">
                  <c:v>24613</c:v>
                </c:pt>
                <c:pt idx="30">
                  <c:v>42</c:v>
                </c:pt>
                <c:pt idx="31">
                  <c:v>16067456</c:v>
                </c:pt>
                <c:pt idx="32">
                  <c:v>0</c:v>
                </c:pt>
                <c:pt idx="33">
                  <c:v>2257543</c:v>
                </c:pt>
                <c:pt idx="34">
                  <c:v>350113</c:v>
                </c:pt>
                <c:pt idx="35">
                  <c:v>238922</c:v>
                </c:pt>
                <c:pt idx="36">
                  <c:v>178620</c:v>
                </c:pt>
                <c:pt idx="37">
                  <c:v>98148</c:v>
                </c:pt>
                <c:pt idx="38">
                  <c:v>76752</c:v>
                </c:pt>
                <c:pt idx="39">
                  <c:v>59927</c:v>
                </c:pt>
                <c:pt idx="40">
                  <c:v>59154</c:v>
                </c:pt>
                <c:pt idx="41">
                  <c:v>58860</c:v>
                </c:pt>
                <c:pt idx="42">
                  <c:v>53214</c:v>
                </c:pt>
                <c:pt idx="43">
                  <c:v>45806</c:v>
                </c:pt>
                <c:pt idx="44">
                  <c:v>33868</c:v>
                </c:pt>
                <c:pt idx="45">
                  <c:v>28590</c:v>
                </c:pt>
                <c:pt idx="46">
                  <c:v>26827</c:v>
                </c:pt>
                <c:pt idx="47">
                  <c:v>15746</c:v>
                </c:pt>
                <c:pt idx="48">
                  <c:v>10871</c:v>
                </c:pt>
                <c:pt idx="49">
                  <c:v>10018</c:v>
                </c:pt>
                <c:pt idx="50">
                  <c:v>4962</c:v>
                </c:pt>
                <c:pt idx="51">
                  <c:v>4865</c:v>
                </c:pt>
                <c:pt idx="52">
                  <c:v>3900</c:v>
                </c:pt>
                <c:pt idx="53">
                  <c:v>1677</c:v>
                </c:pt>
                <c:pt idx="54">
                  <c:v>297</c:v>
                </c:pt>
                <c:pt idx="55">
                  <c:v>0</c:v>
                </c:pt>
                <c:pt idx="56" formatCode="General">
                  <c:v>33868</c:v>
                </c:pt>
                <c:pt idx="57" formatCode="General">
                  <c:v>28590</c:v>
                </c:pt>
                <c:pt idx="58" formatCode="General">
                  <c:v>26827</c:v>
                </c:pt>
                <c:pt idx="59" formatCode="General">
                  <c:v>15746</c:v>
                </c:pt>
                <c:pt idx="60" formatCode="General">
                  <c:v>10871</c:v>
                </c:pt>
                <c:pt idx="61" formatCode="General">
                  <c:v>10018</c:v>
                </c:pt>
                <c:pt idx="62" formatCode="General">
                  <c:v>4962</c:v>
                </c:pt>
                <c:pt idx="63" formatCode="General">
                  <c:v>4865</c:v>
                </c:pt>
                <c:pt idx="64" formatCode="General">
                  <c:v>3900</c:v>
                </c:pt>
                <c:pt idx="65" formatCode="General">
                  <c:v>1677</c:v>
                </c:pt>
                <c:pt idx="66" formatCode="General">
                  <c:v>297</c:v>
                </c:pt>
                <c:pt idx="67" formatCode="General">
                  <c:v>0</c:v>
                </c:pt>
                <c:pt idx="68" formatCode="General">
                  <c:v>33868</c:v>
                </c:pt>
                <c:pt idx="69" formatCode="General">
                  <c:v>28590</c:v>
                </c:pt>
                <c:pt idx="70" formatCode="General">
                  <c:v>26827</c:v>
                </c:pt>
                <c:pt idx="71" formatCode="General">
                  <c:v>15746</c:v>
                </c:pt>
                <c:pt idx="72" formatCode="General">
                  <c:v>10871</c:v>
                </c:pt>
                <c:pt idx="73" formatCode="General">
                  <c:v>10018</c:v>
                </c:pt>
                <c:pt idx="74" formatCode="General">
                  <c:v>4962</c:v>
                </c:pt>
                <c:pt idx="75" formatCode="General">
                  <c:v>4865</c:v>
                </c:pt>
                <c:pt idx="76" formatCode="General">
                  <c:v>3900</c:v>
                </c:pt>
                <c:pt idx="77" formatCode="General">
                  <c:v>1677</c:v>
                </c:pt>
                <c:pt idx="78" formatCode="General">
                  <c:v>297</c:v>
                </c:pt>
                <c:pt idx="79" formatCode="General">
                  <c:v>0</c:v>
                </c:pt>
                <c:pt idx="80" formatCode="General">
                  <c:v>0</c:v>
                </c:pt>
                <c:pt idx="81" formatCode="General">
                  <c:v>33868</c:v>
                </c:pt>
                <c:pt idx="82" formatCode="General">
                  <c:v>28590</c:v>
                </c:pt>
                <c:pt idx="83" formatCode="General">
                  <c:v>26827</c:v>
                </c:pt>
                <c:pt idx="84" formatCode="General">
                  <c:v>15746</c:v>
                </c:pt>
                <c:pt idx="85" formatCode="General">
                  <c:v>10871</c:v>
                </c:pt>
                <c:pt idx="86" formatCode="General">
                  <c:v>10018</c:v>
                </c:pt>
                <c:pt idx="87" formatCode="General">
                  <c:v>4962</c:v>
                </c:pt>
                <c:pt idx="88" formatCode="General">
                  <c:v>4865</c:v>
                </c:pt>
                <c:pt idx="89" formatCode="General">
                  <c:v>3900</c:v>
                </c:pt>
                <c:pt idx="90" formatCode="General">
                  <c:v>1677</c:v>
                </c:pt>
                <c:pt idx="91" formatCode="General">
                  <c:v>297</c:v>
                </c:pt>
                <c:pt idx="92" formatCode="General">
                  <c:v>0</c:v>
                </c:pt>
                <c:pt idx="93" formatCode="General">
                  <c:v>33868</c:v>
                </c:pt>
                <c:pt idx="94" formatCode="General">
                  <c:v>28590</c:v>
                </c:pt>
                <c:pt idx="95" formatCode="General">
                  <c:v>26827</c:v>
                </c:pt>
                <c:pt idx="96" formatCode="General">
                  <c:v>15746</c:v>
                </c:pt>
                <c:pt idx="97" formatCode="General">
                  <c:v>10871</c:v>
                </c:pt>
                <c:pt idx="98" formatCode="General">
                  <c:v>10018</c:v>
                </c:pt>
                <c:pt idx="99" formatCode="General">
                  <c:v>4962</c:v>
                </c:pt>
                <c:pt idx="100" formatCode="General">
                  <c:v>4865</c:v>
                </c:pt>
                <c:pt idx="101" formatCode="General">
                  <c:v>3900</c:v>
                </c:pt>
                <c:pt idx="102" formatCode="General">
                  <c:v>1677</c:v>
                </c:pt>
                <c:pt idx="103" formatCode="General">
                  <c:v>297</c:v>
                </c:pt>
                <c:pt idx="104" formatCode="General">
                  <c:v>0</c:v>
                </c:pt>
                <c:pt idx="105" formatCode="General">
                  <c:v>28590</c:v>
                </c:pt>
                <c:pt idx="106" formatCode="General">
                  <c:v>26827</c:v>
                </c:pt>
                <c:pt idx="107" formatCode="General">
                  <c:v>15746</c:v>
                </c:pt>
                <c:pt idx="108" formatCode="General">
                  <c:v>10871</c:v>
                </c:pt>
                <c:pt idx="109" formatCode="General">
                  <c:v>10018</c:v>
                </c:pt>
                <c:pt idx="110" formatCode="General">
                  <c:v>4962</c:v>
                </c:pt>
                <c:pt idx="111" formatCode="General">
                  <c:v>4865</c:v>
                </c:pt>
                <c:pt idx="112" formatCode="General">
                  <c:v>3900</c:v>
                </c:pt>
                <c:pt idx="113" formatCode="General">
                  <c:v>1677</c:v>
                </c:pt>
                <c:pt idx="114" formatCode="General">
                  <c:v>297</c:v>
                </c:pt>
                <c:pt idx="115" formatCode="General">
                  <c:v>0</c:v>
                </c:pt>
              </c:numCache>
            </c:numRef>
          </c:bubbleSize>
          <c:bubble3D val="0"/>
          <c:extLst>
            <c:ext xmlns:c15="http://schemas.microsoft.com/office/drawing/2012/chart" uri="{02D57815-91ED-43cb-92C2-25804820EDAC}">
              <c15:datalabelsRange>
                <c15:f>Sheet1!$E$2:$E$150</c15:f>
                <c15:dlblRangeCache>
                  <c:ptCount val="149"/>
                  <c:pt idx="0">
                    <c:v>Findus</c:v>
                  </c:pt>
                  <c:pt idx="1">
                    <c:v>Pescanova S.A.</c:v>
                  </c:pt>
                  <c:pt idx="2">
                    <c:v>Private Label</c:v>
                  </c:pt>
                  <c:pt idx="3">
                    <c:v>Frosta</c:v>
                  </c:pt>
                  <c:pt idx="4">
                    <c:v>Panapesca</c:v>
                  </c:pt>
                  <c:pt idx="5">
                    <c:v>Other</c:v>
                  </c:pt>
                  <c:pt idx="6">
                    <c:v>Esca Srl</c:v>
                  </c:pt>
                  <c:pt idx="7">
                    <c:v>Arbi Dario Spa</c:v>
                  </c:pt>
                  <c:pt idx="8">
                    <c:v>Krusta Group</c:v>
                  </c:pt>
                  <c:pt idx="9">
                    <c:v>Fandicosta</c:v>
                  </c:pt>
                  <c:pt idx="10">
                    <c:v>Green Ice</c:v>
                  </c:pt>
                  <c:pt idx="11">
                    <c:v>Alpe Srl - Roma</c:v>
                  </c:pt>
                  <c:pt idx="12">
                    <c:v>Conserviera Adriatica Spa</c:v>
                  </c:pt>
                  <c:pt idx="13">
                    <c:v>New Food</c:v>
                  </c:pt>
                  <c:pt idx="14">
                    <c:v>Agras 1947</c:v>
                  </c:pt>
                  <c:pt idx="15">
                    <c:v>Garbo Snc Di Comanducci Andrea</c:v>
                  </c:pt>
                  <c:pt idx="16">
                    <c:v>Vis Industrie Alimentari</c:v>
                  </c:pt>
                  <c:pt idx="17">
                    <c:v>Buitoni</c:v>
                  </c:pt>
                  <c:pt idx="18">
                    <c:v>Mittico</c:v>
                  </c:pt>
                  <c:pt idx="19">
                    <c:v>Findus</c:v>
                  </c:pt>
                  <c:pt idx="20">
                    <c:v>Frosta</c:v>
                  </c:pt>
                  <c:pt idx="21">
                    <c:v>Private Label</c:v>
                  </c:pt>
                  <c:pt idx="22">
                    <c:v>Krusta Group</c:v>
                  </c:pt>
                  <c:pt idx="23">
                    <c:v>Pescanova S.A.</c:v>
                  </c:pt>
                  <c:pt idx="24">
                    <c:v>Esca Srl</c:v>
                  </c:pt>
                  <c:pt idx="25">
                    <c:v>Arbi Dario Spa</c:v>
                  </c:pt>
                  <c:pt idx="26">
                    <c:v>Emme Gel</c:v>
                  </c:pt>
                  <c:pt idx="27">
                    <c:v>Green Ice</c:v>
                  </c:pt>
                  <c:pt idx="28">
                    <c:v>Other</c:v>
                  </c:pt>
                  <c:pt idx="29">
                    <c:v>Soavegel</c:v>
                  </c:pt>
                  <c:pt idx="30">
                    <c:v>Buitoni</c:v>
                  </c:pt>
                  <c:pt idx="31">
                    <c:v>Findus</c:v>
                  </c:pt>
                  <c:pt idx="32">
                    <c:v>Other</c:v>
                  </c:pt>
                  <c:pt idx="33">
                    <c:v>Findus</c:v>
                  </c:pt>
                  <c:pt idx="34">
                    <c:v>Private Label</c:v>
                  </c:pt>
                  <c:pt idx="35">
                    <c:v>Esca Srl</c:v>
                  </c:pt>
                  <c:pt idx="36">
                    <c:v>Agras 1947</c:v>
                  </c:pt>
                  <c:pt idx="37">
                    <c:v>Frosta</c:v>
                  </c:pt>
                  <c:pt idx="38">
                    <c:v>Other</c:v>
                  </c:pt>
                  <c:pt idx="39">
                    <c:v>New Food</c:v>
                  </c:pt>
                  <c:pt idx="40">
                    <c:v>Noriberica</c:v>
                  </c:pt>
                  <c:pt idx="41">
                    <c:v>Krusta Group</c:v>
                  </c:pt>
                  <c:pt idx="42">
                    <c:v>Nai Prodotti Ittici</c:v>
                  </c:pt>
                  <c:pt idx="43">
                    <c:v>Green Ice</c:v>
                  </c:pt>
                  <c:pt idx="44">
                    <c:v>Pescanova S.A.</c:v>
                  </c:pt>
                  <c:pt idx="45">
                    <c:v>Alpe Srl - Roma</c:v>
                  </c:pt>
                  <c:pt idx="46">
                    <c:v>Appetais Italia Spa</c:v>
                  </c:pt>
                  <c:pt idx="47">
                    <c:v>Royal Greenland</c:v>
                  </c:pt>
                  <c:pt idx="48">
                    <c:v>Panapesca</c:v>
                  </c:pt>
                  <c:pt idx="49">
                    <c:v>Conserviera Adriatica Spa</c:v>
                  </c:pt>
                  <c:pt idx="50">
                    <c:v>Gerfrio</c:v>
                  </c:pt>
                  <c:pt idx="51">
                    <c:v>Garbo Snc Di Comanducci Andrea</c:v>
                  </c:pt>
                  <c:pt idx="52">
                    <c:v>Vis Industrie Alimentari</c:v>
                  </c:pt>
                  <c:pt idx="53">
                    <c:v>Soavegel</c:v>
                  </c:pt>
                  <c:pt idx="54">
                    <c:v>Nettuno Alimentari Srl</c:v>
                  </c:pt>
                  <c:pt idx="55">
                    <c:v>Buitoni</c:v>
                  </c:pt>
                  <c:pt idx="56">
                    <c:v>Pescanova S.A.</c:v>
                  </c:pt>
                  <c:pt idx="57">
                    <c:v>Alpe Srl - Roma</c:v>
                  </c:pt>
                  <c:pt idx="58">
                    <c:v>Appetais Italia Spa</c:v>
                  </c:pt>
                  <c:pt idx="59">
                    <c:v>Royal Greenland</c:v>
                  </c:pt>
                  <c:pt idx="60">
                    <c:v>Panapesca</c:v>
                  </c:pt>
                  <c:pt idx="61">
                    <c:v>Conserviera Adriatica Spa</c:v>
                  </c:pt>
                  <c:pt idx="62">
                    <c:v>Gerfrio</c:v>
                  </c:pt>
                  <c:pt idx="63">
                    <c:v>Garbo Snc Di Comanducci Andrea</c:v>
                  </c:pt>
                  <c:pt idx="64">
                    <c:v>Vis Industrie Alimentari</c:v>
                  </c:pt>
                  <c:pt idx="65">
                    <c:v>Soavegel</c:v>
                  </c:pt>
                  <c:pt idx="66">
                    <c:v>Nettuno Alimentari Srl</c:v>
                  </c:pt>
                  <c:pt idx="67">
                    <c:v>Buitoni</c:v>
                  </c:pt>
                  <c:pt idx="68">
                    <c:v>Pescanova S.A.</c:v>
                  </c:pt>
                  <c:pt idx="69">
                    <c:v>Alpe Srl - Roma</c:v>
                  </c:pt>
                  <c:pt idx="70">
                    <c:v>Appetais Italia Spa</c:v>
                  </c:pt>
                  <c:pt idx="71">
                    <c:v>Royal Greenland</c:v>
                  </c:pt>
                  <c:pt idx="72">
                    <c:v>Panapesca</c:v>
                  </c:pt>
                  <c:pt idx="73">
                    <c:v>Conserviera Adriatica Spa</c:v>
                  </c:pt>
                  <c:pt idx="74">
                    <c:v>Gerfrio</c:v>
                  </c:pt>
                  <c:pt idx="75">
                    <c:v>Garbo Snc Di Comanducci Andrea</c:v>
                  </c:pt>
                  <c:pt idx="76">
                    <c:v>Vis Industrie Alimentari</c:v>
                  </c:pt>
                  <c:pt idx="77">
                    <c:v>Soavegel</c:v>
                  </c:pt>
                  <c:pt idx="78">
                    <c:v>Nettuno Alimentari Srl</c:v>
                  </c:pt>
                  <c:pt idx="79">
                    <c:v>Buitoni</c:v>
                  </c:pt>
                  <c:pt idx="80">
                    <c:v>Buitoni</c:v>
                  </c:pt>
                  <c:pt idx="81">
                    <c:v>Pescanova S.A.</c:v>
                  </c:pt>
                  <c:pt idx="82">
                    <c:v>Alpe Srl - Roma</c:v>
                  </c:pt>
                  <c:pt idx="83">
                    <c:v>Appetais Italia Spa</c:v>
                  </c:pt>
                  <c:pt idx="84">
                    <c:v>Royal Greenland</c:v>
                  </c:pt>
                  <c:pt idx="85">
                    <c:v>Panapesca</c:v>
                  </c:pt>
                  <c:pt idx="86">
                    <c:v>Conserviera Adriatica Spa</c:v>
                  </c:pt>
                  <c:pt idx="87">
                    <c:v>Gerfrio</c:v>
                  </c:pt>
                  <c:pt idx="88">
                    <c:v>Garbo Snc Di Comanducci Andrea</c:v>
                  </c:pt>
                  <c:pt idx="89">
                    <c:v>Vis Industrie Alimentari</c:v>
                  </c:pt>
                  <c:pt idx="90">
                    <c:v>Soavegel</c:v>
                  </c:pt>
                  <c:pt idx="91">
                    <c:v>Nettuno Alimentari Srl</c:v>
                  </c:pt>
                  <c:pt idx="92">
                    <c:v>Buitoni</c:v>
                  </c:pt>
                  <c:pt idx="93">
                    <c:v>Pescanova S.A.</c:v>
                  </c:pt>
                  <c:pt idx="94">
                    <c:v>Alpe Srl - Roma</c:v>
                  </c:pt>
                  <c:pt idx="95">
                    <c:v>Appetais Italia Spa</c:v>
                  </c:pt>
                  <c:pt idx="96">
                    <c:v>Royal Greenland</c:v>
                  </c:pt>
                  <c:pt idx="97">
                    <c:v>Panapesca</c:v>
                  </c:pt>
                  <c:pt idx="98">
                    <c:v>Conserviera Adriatica Spa</c:v>
                  </c:pt>
                  <c:pt idx="99">
                    <c:v>Gerfrio</c:v>
                  </c:pt>
                  <c:pt idx="100">
                    <c:v>Garbo Snc Di Comanducci Andrea</c:v>
                  </c:pt>
                  <c:pt idx="101">
                    <c:v>Vis Industrie Alimentari</c:v>
                  </c:pt>
                  <c:pt idx="102">
                    <c:v>Soavegel</c:v>
                  </c:pt>
                  <c:pt idx="103">
                    <c:v>Nettuno Alimentari Srl</c:v>
                  </c:pt>
                  <c:pt idx="104">
                    <c:v>Buitoni</c:v>
                  </c:pt>
                  <c:pt idx="105">
                    <c:v>Alpe Srl - Roma</c:v>
                  </c:pt>
                  <c:pt idx="106">
                    <c:v>Appetais Italia Spa</c:v>
                  </c:pt>
                  <c:pt idx="107">
                    <c:v>Royal Greenland</c:v>
                  </c:pt>
                  <c:pt idx="108">
                    <c:v>Panapesca</c:v>
                  </c:pt>
                  <c:pt idx="109">
                    <c:v>Conserviera Adriatica Spa</c:v>
                  </c:pt>
                  <c:pt idx="110">
                    <c:v>Gerfrio</c:v>
                  </c:pt>
                  <c:pt idx="111">
                    <c:v>Garbo Snc Di Comanducci Andrea</c:v>
                  </c:pt>
                  <c:pt idx="112">
                    <c:v>Vis Industrie Alimentari</c:v>
                  </c:pt>
                  <c:pt idx="113">
                    <c:v>Soavegel</c:v>
                  </c:pt>
                  <c:pt idx="114">
                    <c:v>Nettuno Alimentari Srl</c:v>
                  </c:pt>
                  <c:pt idx="115">
                    <c:v>Buitoni</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5"/>
          <c:min val="0.5"/>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C$1</c:f>
              <c:strCache>
                <c:ptCount val="1"/>
                <c:pt idx="0">
                  <c:v>Big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C$2:$C$37</c:f>
              <c:numCache>
                <c:formatCode>0%</c:formatCode>
                <c:ptCount val="36"/>
                <c:pt idx="0">
                  <c:v>0.97769335396900214</c:v>
                </c:pt>
                <c:pt idx="1">
                  <c:v>1.0684026941505411</c:v>
                </c:pt>
                <c:pt idx="2">
                  <c:v>1.227788338650863</c:v>
                </c:pt>
                <c:pt idx="3">
                  <c:v>1.2600249267555805</c:v>
                </c:pt>
                <c:pt idx="4">
                  <c:v>1.0918592645087959</c:v>
                </c:pt>
                <c:pt idx="5">
                  <c:v>0.95771669383942326</c:v>
                </c:pt>
                <c:pt idx="6">
                  <c:v>0.83219611340774713</c:v>
                </c:pt>
                <c:pt idx="7">
                  <c:v>0.81834298268274142</c:v>
                </c:pt>
                <c:pt idx="8">
                  <c:v>0.88385620277610388</c:v>
                </c:pt>
                <c:pt idx="9">
                  <c:v>0.80517208351256697</c:v>
                </c:pt>
                <c:pt idx="10">
                  <c:v>0.9015653700076367</c:v>
                </c:pt>
                <c:pt idx="11">
                  <c:v>0.96767243413039483</c:v>
                </c:pt>
                <c:pt idx="12">
                  <c:v>1.1135997973792224</c:v>
                </c:pt>
                <c:pt idx="13">
                  <c:v>1.1319284492778312</c:v>
                </c:pt>
                <c:pt idx="14">
                  <c:v>1.2471325483184159</c:v>
                </c:pt>
                <c:pt idx="15">
                  <c:v>1.2700266471810697</c:v>
                </c:pt>
                <c:pt idx="16">
                  <c:v>1.0558129473154825</c:v>
                </c:pt>
                <c:pt idx="17">
                  <c:v>0.96994353867049321</c:v>
                </c:pt>
                <c:pt idx="18">
                  <c:v>0.82763802860581237</c:v>
                </c:pt>
                <c:pt idx="19">
                  <c:v>0.82565195282496984</c:v>
                </c:pt>
                <c:pt idx="20">
                  <c:v>0.8734375393789986</c:v>
                </c:pt>
                <c:pt idx="21">
                  <c:v>0.77022486702200921</c:v>
                </c:pt>
                <c:pt idx="22">
                  <c:v>0.86712822471444584</c:v>
                </c:pt>
                <c:pt idx="23">
                  <c:v>0.92604347311977919</c:v>
                </c:pt>
                <c:pt idx="24">
                  <c:v>1.0342509203635326</c:v>
                </c:pt>
                <c:pt idx="25">
                  <c:v>1.0937835038941166</c:v>
                </c:pt>
                <c:pt idx="26">
                  <c:v>1.2287083096919564</c:v>
                </c:pt>
                <c:pt idx="27">
                  <c:v>1.3004179911042999</c:v>
                </c:pt>
                <c:pt idx="28">
                  <c:v>1.1552634977634784</c:v>
                </c:pt>
                <c:pt idx="29">
                  <c:v>0.98258002329880667</c:v>
                </c:pt>
                <c:pt idx="30">
                  <c:v>0.86772511051917489</c:v>
                </c:pt>
                <c:pt idx="31">
                  <c:v>0.90043653912940158</c:v>
                </c:pt>
                <c:pt idx="32">
                  <c:v>0.93139931325784975</c:v>
                </c:pt>
                <c:pt idx="33">
                  <c:v>0.96374922439900401</c:v>
                </c:pt>
                <c:pt idx="34">
                  <c:v>1.0313290190154365</c:v>
                </c:pt>
                <c:pt idx="35">
                  <c:v>1.0735224433277097</c:v>
                </c:pt>
              </c:numCache>
            </c:numRef>
          </c:val>
          <c:extLst>
            <c:ext xmlns:c16="http://schemas.microsoft.com/office/drawing/2014/chart" uri="{C3380CC4-5D6E-409C-BE32-E72D297353CC}">
              <c16:uniqueId val="{00000000-9B64-4614-A4EF-2F0C825129CF}"/>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0-21BF-47A7-B366-E3F0AD114BCE}"/>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0-3CBE-4AE8-80EA-8E325A05E683}"/>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D010-4ADB-9B73-BF9B36FE3842}"/>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03062232603219E-2"/>
          <c:y val="0.11501253847322537"/>
          <c:w val="0.96552354726914169"/>
          <c:h val="0.94320261756785895"/>
        </c:manualLayout>
      </c:layout>
      <c:barChart>
        <c:barDir val="col"/>
        <c:grouping val="clustered"/>
        <c:varyColors val="0"/>
        <c:ser>
          <c:idx val="3"/>
          <c:order val="0"/>
          <c:tx>
            <c:strRef>
              <c:f>Sheet1!$E$1</c:f>
              <c:strCache>
                <c:ptCount val="1"/>
                <c:pt idx="0">
                  <c:v>Nrgb</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E$2:$E$37</c:f>
              <c:numCache>
                <c:formatCode>0%</c:formatCode>
                <c:ptCount val="36"/>
                <c:pt idx="0">
                  <c:v>0.97346623595315596</c:v>
                </c:pt>
                <c:pt idx="1">
                  <c:v>1.0813626903488831</c:v>
                </c:pt>
                <c:pt idx="2">
                  <c:v>1.3072521133945396</c:v>
                </c:pt>
                <c:pt idx="3">
                  <c:v>1.3561873664469997</c:v>
                </c:pt>
                <c:pt idx="4">
                  <c:v>1.0898344432297895</c:v>
                </c:pt>
                <c:pt idx="5">
                  <c:v>0.88818527580076378</c:v>
                </c:pt>
                <c:pt idx="6">
                  <c:v>0.82040801349671721</c:v>
                </c:pt>
                <c:pt idx="7">
                  <c:v>0.92884068947869902</c:v>
                </c:pt>
                <c:pt idx="8">
                  <c:v>0.70958580508109725</c:v>
                </c:pt>
                <c:pt idx="9">
                  <c:v>0.62519713036216695</c:v>
                </c:pt>
                <c:pt idx="10">
                  <c:v>0.74014261308297413</c:v>
                </c:pt>
                <c:pt idx="11">
                  <c:v>0.94458038542152689</c:v>
                </c:pt>
                <c:pt idx="12">
                  <c:v>1.1010776516684742</c:v>
                </c:pt>
                <c:pt idx="13">
                  <c:v>1.2038247347286628</c:v>
                </c:pt>
                <c:pt idx="14">
                  <c:v>1.3819916874247298</c:v>
                </c:pt>
                <c:pt idx="15">
                  <c:v>1.4659290315492048</c:v>
                </c:pt>
                <c:pt idx="16">
                  <c:v>1.0938482636191424</c:v>
                </c:pt>
                <c:pt idx="17">
                  <c:v>0.97774590008408524</c:v>
                </c:pt>
                <c:pt idx="18">
                  <c:v>0.83163780148087829</c:v>
                </c:pt>
                <c:pt idx="19">
                  <c:v>0.92443899549705777</c:v>
                </c:pt>
                <c:pt idx="20">
                  <c:v>0.74983994709141588</c:v>
                </c:pt>
                <c:pt idx="21">
                  <c:v>0.64691968696880864</c:v>
                </c:pt>
                <c:pt idx="22">
                  <c:v>0.75565548841350183</c:v>
                </c:pt>
                <c:pt idx="23">
                  <c:v>0.88878856229882952</c:v>
                </c:pt>
                <c:pt idx="24">
                  <c:v>1.0291509922797555</c:v>
                </c:pt>
                <c:pt idx="25">
                  <c:v>1.1249568456998233</c:v>
                </c:pt>
                <c:pt idx="26">
                  <c:v>1.4078546885182839</c:v>
                </c:pt>
                <c:pt idx="27">
                  <c:v>1.4831419063050926</c:v>
                </c:pt>
                <c:pt idx="28">
                  <c:v>1.1973999712167878</c:v>
                </c:pt>
                <c:pt idx="29">
                  <c:v>0.95702186544084877</c:v>
                </c:pt>
                <c:pt idx="30">
                  <c:v>0.78691274365855679</c:v>
                </c:pt>
                <c:pt idx="31">
                  <c:v>0.97235730210829541</c:v>
                </c:pt>
                <c:pt idx="32">
                  <c:v>0.91585505205963347</c:v>
                </c:pt>
                <c:pt idx="33">
                  <c:v>0.9285825080337341</c:v>
                </c:pt>
                <c:pt idx="34">
                  <c:v>0.99989489099506379</c:v>
                </c:pt>
                <c:pt idx="35">
                  <c:v>1.1556675489115686</c:v>
                </c:pt>
              </c:numCache>
            </c:numRef>
          </c:val>
          <c:extLst>
            <c:ext xmlns:c16="http://schemas.microsoft.com/office/drawing/2014/chart" uri="{C3380CC4-5D6E-409C-BE32-E72D297353CC}">
              <c16:uniqueId val="{00000003-5FED-4CF9-B2A1-636C1E7435E8}"/>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C$1</c:f>
              <c:strCache>
                <c:ptCount val="1"/>
                <c:pt idx="0">
                  <c:v>Big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C$2:$C$37</c:f>
              <c:numCache>
                <c:formatCode>0%</c:formatCode>
                <c:ptCount val="36"/>
                <c:pt idx="0">
                  <c:v>0.97769335396900214</c:v>
                </c:pt>
                <c:pt idx="1">
                  <c:v>1.0684026941505411</c:v>
                </c:pt>
                <c:pt idx="2">
                  <c:v>1.227788338650863</c:v>
                </c:pt>
                <c:pt idx="3">
                  <c:v>1.2600249267555805</c:v>
                </c:pt>
                <c:pt idx="4">
                  <c:v>1.0918592645087959</c:v>
                </c:pt>
                <c:pt idx="5">
                  <c:v>0.95771669383942326</c:v>
                </c:pt>
                <c:pt idx="6">
                  <c:v>0.83219611340774713</c:v>
                </c:pt>
                <c:pt idx="7">
                  <c:v>0.81834298268274142</c:v>
                </c:pt>
                <c:pt idx="8">
                  <c:v>0.88385620277610388</c:v>
                </c:pt>
                <c:pt idx="9">
                  <c:v>0.80517208351256697</c:v>
                </c:pt>
                <c:pt idx="10">
                  <c:v>0.9015653700076367</c:v>
                </c:pt>
                <c:pt idx="11">
                  <c:v>0.96767243413039483</c:v>
                </c:pt>
                <c:pt idx="12">
                  <c:v>1.1135997973792224</c:v>
                </c:pt>
                <c:pt idx="13">
                  <c:v>1.1319284492778312</c:v>
                </c:pt>
                <c:pt idx="14">
                  <c:v>1.2471325483184159</c:v>
                </c:pt>
                <c:pt idx="15">
                  <c:v>1.2700266471810697</c:v>
                </c:pt>
                <c:pt idx="16">
                  <c:v>1.0558129473154825</c:v>
                </c:pt>
                <c:pt idx="17">
                  <c:v>0.96994353867049321</c:v>
                </c:pt>
                <c:pt idx="18">
                  <c:v>0.82763802860581237</c:v>
                </c:pt>
                <c:pt idx="19">
                  <c:v>0.82565195282496984</c:v>
                </c:pt>
                <c:pt idx="20">
                  <c:v>0.8734375393789986</c:v>
                </c:pt>
                <c:pt idx="21">
                  <c:v>0.77022486702200921</c:v>
                </c:pt>
                <c:pt idx="22">
                  <c:v>0.86712822471444584</c:v>
                </c:pt>
                <c:pt idx="23">
                  <c:v>0.92604347311977919</c:v>
                </c:pt>
                <c:pt idx="24">
                  <c:v>1.0342509203635326</c:v>
                </c:pt>
                <c:pt idx="25">
                  <c:v>1.0937835038941166</c:v>
                </c:pt>
                <c:pt idx="26">
                  <c:v>1.2287083096919564</c:v>
                </c:pt>
                <c:pt idx="27">
                  <c:v>1.3004179911042999</c:v>
                </c:pt>
                <c:pt idx="28">
                  <c:v>1.1552634977634784</c:v>
                </c:pt>
                <c:pt idx="29">
                  <c:v>0.98258002329880667</c:v>
                </c:pt>
                <c:pt idx="30">
                  <c:v>0.86772511051917489</c:v>
                </c:pt>
                <c:pt idx="31">
                  <c:v>0.90043653912940158</c:v>
                </c:pt>
                <c:pt idx="32">
                  <c:v>0.93139931325784975</c:v>
                </c:pt>
                <c:pt idx="33">
                  <c:v>0.96374922439900401</c:v>
                </c:pt>
                <c:pt idx="34">
                  <c:v>1.0313290190154365</c:v>
                </c:pt>
                <c:pt idx="35">
                  <c:v>1.0735224433277097</c:v>
                </c:pt>
              </c:numCache>
            </c:numRef>
          </c:val>
          <c:extLst>
            <c:ext xmlns:c16="http://schemas.microsoft.com/office/drawing/2014/chart" uri="{C3380CC4-5D6E-409C-BE32-E72D297353CC}">
              <c16:uniqueId val="{00000003-DDC5-4BB0-9697-B3C6B8123A4B}"/>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D$1</c:f>
              <c:strCache>
                <c:ptCount val="1"/>
                <c:pt idx="0">
                  <c:v>Can</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D$2:$D$37</c:f>
              <c:numCache>
                <c:formatCode>0%</c:formatCode>
                <c:ptCount val="36"/>
                <c:pt idx="0">
                  <c:v>0.97735978615950803</c:v>
                </c:pt>
                <c:pt idx="1">
                  <c:v>1.083530041128921</c:v>
                </c:pt>
                <c:pt idx="2">
                  <c:v>1.3669011866997434</c:v>
                </c:pt>
                <c:pt idx="3">
                  <c:v>1.3536110961997165</c:v>
                </c:pt>
                <c:pt idx="4">
                  <c:v>1.0282181550884235</c:v>
                </c:pt>
                <c:pt idx="5">
                  <c:v>0.89833467402918188</c:v>
                </c:pt>
                <c:pt idx="6">
                  <c:v>0.81859239811754014</c:v>
                </c:pt>
                <c:pt idx="7">
                  <c:v>0.8507952229424296</c:v>
                </c:pt>
                <c:pt idx="8">
                  <c:v>0.73762939503577918</c:v>
                </c:pt>
                <c:pt idx="9">
                  <c:v>0.68218881682196497</c:v>
                </c:pt>
                <c:pt idx="10">
                  <c:v>0.7575796813250365</c:v>
                </c:pt>
                <c:pt idx="11">
                  <c:v>0.92055483630650836</c:v>
                </c:pt>
                <c:pt idx="12">
                  <c:v>1.0915680840017985</c:v>
                </c:pt>
                <c:pt idx="13">
                  <c:v>1.1929137612785661</c:v>
                </c:pt>
                <c:pt idx="14">
                  <c:v>1.3948021002648652</c:v>
                </c:pt>
                <c:pt idx="15">
                  <c:v>1.4188639801888696</c:v>
                </c:pt>
                <c:pt idx="16">
                  <c:v>1.0783770646851871</c:v>
                </c:pt>
                <c:pt idx="17">
                  <c:v>0.97033613215978043</c:v>
                </c:pt>
                <c:pt idx="18">
                  <c:v>0.85675401083014457</c:v>
                </c:pt>
                <c:pt idx="19">
                  <c:v>0.89843213710149927</c:v>
                </c:pt>
                <c:pt idx="20">
                  <c:v>0.73048896520605999</c:v>
                </c:pt>
                <c:pt idx="21">
                  <c:v>0.66703125832099486</c:v>
                </c:pt>
                <c:pt idx="22">
                  <c:v>0.74060926482889589</c:v>
                </c:pt>
                <c:pt idx="23">
                  <c:v>0.86104337079131998</c:v>
                </c:pt>
                <c:pt idx="24">
                  <c:v>1.0180034856251248</c:v>
                </c:pt>
                <c:pt idx="25">
                  <c:v>1.1633321402422965</c:v>
                </c:pt>
                <c:pt idx="26">
                  <c:v>1.3983819729257696</c:v>
                </c:pt>
                <c:pt idx="27">
                  <c:v>1.4382841999907983</c:v>
                </c:pt>
                <c:pt idx="28">
                  <c:v>1.2147328953855996</c:v>
                </c:pt>
                <c:pt idx="29">
                  <c:v>1.0064172304867123</c:v>
                </c:pt>
                <c:pt idx="30">
                  <c:v>0.84639471783698872</c:v>
                </c:pt>
                <c:pt idx="31">
                  <c:v>0.91528049835943937</c:v>
                </c:pt>
                <c:pt idx="32">
                  <c:v>0.84244983935623963</c:v>
                </c:pt>
                <c:pt idx="33">
                  <c:v>0.92038639532838662</c:v>
                </c:pt>
                <c:pt idx="34">
                  <c:v>1.0481721229143046</c:v>
                </c:pt>
                <c:pt idx="35">
                  <c:v>1.1889916424010691</c:v>
                </c:pt>
              </c:numCache>
            </c:numRef>
          </c:val>
          <c:extLst>
            <c:ext xmlns:c16="http://schemas.microsoft.com/office/drawing/2014/chart" uri="{C3380CC4-5D6E-409C-BE32-E72D297353CC}">
              <c16:uniqueId val="{00000003-BAFB-416C-8099-2FCB03A791A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fld id="{BF7583E2-35EB-4CF1-A51D-F37905A9C875}" type="CELLRANGE">
                      <a:rPr lang="en-US"/>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fld id="{2B8C0581-2997-4861-A813-3F240EED3620}"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fld id="{735DF318-2509-4102-879C-02B2D9AAAC89}"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fld id="{050FD0A1-67A1-42F6-B9E2-1DABF140E596}"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fld id="{44E111A1-5841-4169-BC13-72A13CABB809}"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14EBF073-DBAE-4C18-8046-226E6AB50A71}"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E07FE901-48F0-4485-8888-728C5ECDE8D4}"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1D8ACC4E-D668-481C-9A5A-AE78CBC041DA}"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ABAE6587-01CB-4E5A-97B1-740E669A543C}"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65B061A5-D0DC-47AF-A24F-E738AC9690D1}"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0A5DF677-07AF-46B5-8801-B95A540D0214}"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01EE1D7A-2D5D-414D-9DBA-8618CEC204CC}"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3728243D-ADD2-4CDA-87EE-FC120931DB5F}"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8124CC06-F6F5-4FAA-B61D-6AA213EE31F9}"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93C5B293-8691-465E-B932-88AF08909261}"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8D524936-67DD-4B54-9365-27A993FAC12F}"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9CCC0FB8-B7E4-4B77-BBAD-F705ED2C8718}"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11CD244D-133D-4511-B27C-267CBF98F4AE}"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DE804503-1144-4589-A7A2-43CBC0C1D1BF}"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00AD69AD-14DA-425E-9B94-B83357F0DBD6}"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466F0FB9-F244-4E32-B5EA-6991C1E6339C}"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2A4A1924-505B-43EC-9F88-349E418A9CDA}"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845654A2-6520-482C-A5AF-D58394DA11BD}"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CCD1ADFB-0C1F-4083-BD38-FA2EB10F5D71}"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23CD9A05-2AAB-4571-94B0-2AB60B28A05B}"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5BD7CB68-37F6-4ACB-9F0C-335291652DF1}"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E176710A-C78E-42E4-8A51-3653F2C33982}"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EB3E75B1-2BC1-43B3-BBC8-695D7023A0BB}"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D3210202-94E1-4FE8-8FDD-568FEBBC807E}"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F91FC989-F545-4274-BBF7-8315FCA0F7A3}"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D2A785AD-0D25-46FC-98F6-1729A62478B6}"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6A82C043-8027-48DF-966C-3A1ADC6A8238}"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67ED487A-7D24-4516-93D5-8B3712EC641C}"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6992E872-A2E7-4C0B-9EAC-A12699E4D209}"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C0C4473D-3B71-4983-ADAC-160F785572EF}"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C7CB094A-6B80-4A0D-ADA2-C99EDE7F0918}"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C948AF43-C3CD-445D-87B8-560F675A949E}"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226F24B5-B61A-49B0-B6CE-7AFBE9837951}"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68CD3DDB-563F-485B-BBE5-300C45C44208}"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0065CFD6-AB87-4A94-BEC4-339A7A5F13B3}"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76DA93CB-A124-4E3D-BE64-8B6AD8F2472B}"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84C5247E-C616-4E24-951D-24A08B26B903}"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D92BCF0A-B769-431F-A4B7-4EA7F12CDFAE}"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4988682D-A7A8-41E3-8D09-0CBC1B81C245}"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C7788107-D729-441B-AA2C-20116048D659}"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1BFA6224-2977-4793-98CB-7F266BC038A1}"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C31C2097-14D1-46DC-9B92-8FAB56932EF8}"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FE18EC56-2ECC-4E54-9166-5D6E202953D5}"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CH"/>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CH"/>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1</c:f>
              <c:numCache>
                <c:formatCode>General</c:formatCode>
                <c:ptCount val="50"/>
                <c:pt idx="0">
                  <c:v>0.32614219606149664</c:v>
                </c:pt>
                <c:pt idx="1">
                  <c:v>0.31664875250254537</c:v>
                </c:pt>
                <c:pt idx="2">
                  <c:v>0.27346307041982199</c:v>
                </c:pt>
                <c:pt idx="3">
                  <c:v>0.2831646688619443</c:v>
                </c:pt>
                <c:pt idx="4">
                  <c:v>0.2586347262757685</c:v>
                </c:pt>
                <c:pt idx="5">
                  <c:v>0.33786738243552095</c:v>
                </c:pt>
                <c:pt idx="6">
                  <c:v>0.39199545326509833</c:v>
                </c:pt>
                <c:pt idx="7">
                  <c:v>0.24805723261987339</c:v>
                </c:pt>
                <c:pt idx="8">
                  <c:v>0.24785938764333104</c:v>
                </c:pt>
                <c:pt idx="9">
                  <c:v>0.37074721427752688</c:v>
                </c:pt>
                <c:pt idx="10">
                  <c:v>0.24301285130226527</c:v>
                </c:pt>
                <c:pt idx="11">
                  <c:v>0.29023901513577965</c:v>
                </c:pt>
                <c:pt idx="12">
                  <c:v>0.27408514093650493</c:v>
                </c:pt>
                <c:pt idx="13">
                  <c:v>0.38048884495186663</c:v>
                </c:pt>
                <c:pt idx="14">
                  <c:v>0.30308742272142136</c:v>
                </c:pt>
                <c:pt idx="15">
                  <c:v>0.25008655716680273</c:v>
                </c:pt>
                <c:pt idx="16">
                  <c:v>0.28089700180642357</c:v>
                </c:pt>
                <c:pt idx="17">
                  <c:v>0.27117632631945737</c:v>
                </c:pt>
                <c:pt idx="18">
                  <c:v>0.29870429613658334</c:v>
                </c:pt>
                <c:pt idx="19">
                  <c:v>0.28887143469924503</c:v>
                </c:pt>
                <c:pt idx="20">
                  <c:v>0.27333685261571355</c:v>
                </c:pt>
                <c:pt idx="21">
                  <c:v>0.2713669485206564</c:v>
                </c:pt>
                <c:pt idx="22">
                  <c:v>0.37674111408113636</c:v>
                </c:pt>
                <c:pt idx="23">
                  <c:v>0.34170217411726383</c:v>
                </c:pt>
                <c:pt idx="24">
                  <c:v>0.27953887621663237</c:v>
                </c:pt>
                <c:pt idx="25">
                  <c:v>0.26139863941217595</c:v>
                </c:pt>
                <c:pt idx="26">
                  <c:v>0.28515871070852677</c:v>
                </c:pt>
                <c:pt idx="27">
                  <c:v>0.31741391390991608</c:v>
                </c:pt>
                <c:pt idx="28">
                  <c:v>0.26620342419047666</c:v>
                </c:pt>
                <c:pt idx="29">
                  <c:v>0.27032392247178932</c:v>
                </c:pt>
                <c:pt idx="30">
                  <c:v>0.25398515744663003</c:v>
                </c:pt>
                <c:pt idx="31">
                  <c:v>0.28052802243816721</c:v>
                </c:pt>
                <c:pt idx="32">
                  <c:v>0.25420735412144679</c:v>
                </c:pt>
                <c:pt idx="33">
                  <c:v>0.34032241378886918</c:v>
                </c:pt>
                <c:pt idx="34">
                  <c:v>0.29260451481690342</c:v>
                </c:pt>
                <c:pt idx="35">
                  <c:v>0.27010707272762946</c:v>
                </c:pt>
                <c:pt idx="36">
                  <c:v>0.30239907256816745</c:v>
                </c:pt>
                <c:pt idx="37">
                  <c:v>0.32976074763129964</c:v>
                </c:pt>
                <c:pt idx="38">
                  <c:v>0.32883855339035062</c:v>
                </c:pt>
                <c:pt idx="39">
                  <c:v>0.27306037067424022</c:v>
                </c:pt>
                <c:pt idx="40">
                  <c:v>0.31776436198193048</c:v>
                </c:pt>
                <c:pt idx="41">
                  <c:v>0.239223188374001</c:v>
                </c:pt>
                <c:pt idx="42">
                  <c:v>0.3262179990104076</c:v>
                </c:pt>
                <c:pt idx="43">
                  <c:v>0.27599787245298646</c:v>
                </c:pt>
                <c:pt idx="44">
                  <c:v>0.23472836573018385</c:v>
                </c:pt>
                <c:pt idx="45">
                  <c:v>0.22448270645716939</c:v>
                </c:pt>
                <c:pt idx="46">
                  <c:v>0.24585381842019011</c:v>
                </c:pt>
                <c:pt idx="47">
                  <c:v>0.29945368378448511</c:v>
                </c:pt>
              </c:numCache>
            </c:numRef>
          </c:xVal>
          <c:yVal>
            <c:numRef>
              <c:f>Sheet1!$B$2:$B$51</c:f>
              <c:numCache>
                <c:formatCode>General</c:formatCode>
                <c:ptCount val="50"/>
                <c:pt idx="0">
                  <c:v>4.036642599277978</c:v>
                </c:pt>
                <c:pt idx="1">
                  <c:v>2.8052981048554435</c:v>
                </c:pt>
                <c:pt idx="2">
                  <c:v>2.3157631776167875</c:v>
                </c:pt>
                <c:pt idx="3">
                  <c:v>3.3874534581969988</c:v>
                </c:pt>
                <c:pt idx="4">
                  <c:v>2.1946284032376746</c:v>
                </c:pt>
                <c:pt idx="5">
                  <c:v>5.5104879160966709</c:v>
                </c:pt>
                <c:pt idx="6">
                  <c:v>5.8558732345849123</c:v>
                </c:pt>
                <c:pt idx="7">
                  <c:v>0.8575959403742468</c:v>
                </c:pt>
                <c:pt idx="8">
                  <c:v>0.91815809097688295</c:v>
                </c:pt>
                <c:pt idx="9">
                  <c:v>5.1425761271539852</c:v>
                </c:pt>
                <c:pt idx="10">
                  <c:v>1.949090909090909</c:v>
                </c:pt>
                <c:pt idx="11">
                  <c:v>2.15698407241893</c:v>
                </c:pt>
                <c:pt idx="12">
                  <c:v>2.1229696158991018</c:v>
                </c:pt>
                <c:pt idx="13">
                  <c:v>6.3531066822977724</c:v>
                </c:pt>
                <c:pt idx="14">
                  <c:v>3.45</c:v>
                </c:pt>
                <c:pt idx="15">
                  <c:v>1.1538200339558573</c:v>
                </c:pt>
                <c:pt idx="16">
                  <c:v>2.313090542152096</c:v>
                </c:pt>
                <c:pt idx="17">
                  <c:v>1.4464879237757589</c:v>
                </c:pt>
                <c:pt idx="18">
                  <c:v>1.9545373823477179</c:v>
                </c:pt>
                <c:pt idx="19">
                  <c:v>2.2469486531986531</c:v>
                </c:pt>
                <c:pt idx="20">
                  <c:v>2.035958124715521</c:v>
                </c:pt>
                <c:pt idx="21">
                  <c:v>2.1883473799926714</c:v>
                </c:pt>
                <c:pt idx="22">
                  <c:v>2.9860900354071824</c:v>
                </c:pt>
                <c:pt idx="23">
                  <c:v>1.6556822982678496</c:v>
                </c:pt>
                <c:pt idx="24">
                  <c:v>0.74406457739791076</c:v>
                </c:pt>
                <c:pt idx="25">
                  <c:v>1.9397372742200329</c:v>
                </c:pt>
                <c:pt idx="26">
                  <c:v>2.4108446298227322</c:v>
                </c:pt>
                <c:pt idx="27">
                  <c:v>1.1723356009070294</c:v>
                </c:pt>
                <c:pt idx="28">
                  <c:v>2.0220286885245899</c:v>
                </c:pt>
                <c:pt idx="29">
                  <c:v>2.4238369699464801</c:v>
                </c:pt>
                <c:pt idx="30">
                  <c:v>1.7869481765834934</c:v>
                </c:pt>
                <c:pt idx="31">
                  <c:v>2.4264361078546308</c:v>
                </c:pt>
                <c:pt idx="32">
                  <c:v>1.6909884158266888</c:v>
                </c:pt>
                <c:pt idx="33">
                  <c:v>1.3602050326188257</c:v>
                </c:pt>
                <c:pt idx="34">
                  <c:v>0.90998268897864976</c:v>
                </c:pt>
                <c:pt idx="35">
                  <c:v>1.7486426061961036</c:v>
                </c:pt>
                <c:pt idx="36">
                  <c:v>3.7153641207815276</c:v>
                </c:pt>
                <c:pt idx="37">
                  <c:v>0.63358208955223883</c:v>
                </c:pt>
                <c:pt idx="38">
                  <c:v>3.2248565965583174</c:v>
                </c:pt>
                <c:pt idx="39">
                  <c:v>0.36051693404634583</c:v>
                </c:pt>
                <c:pt idx="40">
                  <c:v>1.3776626367299942</c:v>
                </c:pt>
                <c:pt idx="41">
                  <c:v>1.8659543467702768</c:v>
                </c:pt>
                <c:pt idx="42">
                  <c:v>1.4394765539803707</c:v>
                </c:pt>
                <c:pt idx="43">
                  <c:v>1.628901239846088</c:v>
                </c:pt>
                <c:pt idx="44">
                  <c:v>1.3637426900584795</c:v>
                </c:pt>
                <c:pt idx="45">
                  <c:v>0.60488798370672103</c:v>
                </c:pt>
                <c:pt idx="46">
                  <c:v>1.4079956188389924</c:v>
                </c:pt>
                <c:pt idx="47">
                  <c:v>1.1113460183227626</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H$1</c:f>
              <c:strCache>
                <c:ptCount val="1"/>
                <c:pt idx="0">
                  <c:v>Total Beer</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H$2:$H$37</c:f>
              <c:numCache>
                <c:formatCode>0%</c:formatCode>
                <c:ptCount val="36"/>
                <c:pt idx="0">
                  <c:v>0.95546131454801952</c:v>
                </c:pt>
                <c:pt idx="1">
                  <c:v>1.0658820616078615</c:v>
                </c:pt>
                <c:pt idx="2">
                  <c:v>1.2845151692566505</c:v>
                </c:pt>
                <c:pt idx="3">
                  <c:v>1.3313017548720483</c:v>
                </c:pt>
                <c:pt idx="4">
                  <c:v>1.1068184803119951</c:v>
                </c:pt>
                <c:pt idx="5">
                  <c:v>0.94899677223263834</c:v>
                </c:pt>
                <c:pt idx="6">
                  <c:v>0.83477183537813959</c:v>
                </c:pt>
                <c:pt idx="7">
                  <c:v>0.84011161209200691</c:v>
                </c:pt>
                <c:pt idx="8">
                  <c:v>0.77917016473858225</c:v>
                </c:pt>
                <c:pt idx="9">
                  <c:v>0.71206172491546882</c:v>
                </c:pt>
                <c:pt idx="10">
                  <c:v>0.81106709556909162</c:v>
                </c:pt>
                <c:pt idx="11">
                  <c:v>0.9277477499727792</c:v>
                </c:pt>
                <c:pt idx="12">
                  <c:v>1.0920086483852394</c:v>
                </c:pt>
                <c:pt idx="13">
                  <c:v>1.1645640879461192</c:v>
                </c:pt>
                <c:pt idx="14">
                  <c:v>1.3394712489027132</c:v>
                </c:pt>
                <c:pt idx="15">
                  <c:v>1.385364724773833</c:v>
                </c:pt>
                <c:pt idx="16">
                  <c:v>1.09543210519944</c:v>
                </c:pt>
                <c:pt idx="17">
                  <c:v>0.98674858460748094</c:v>
                </c:pt>
                <c:pt idx="18">
                  <c:v>0.84917082857101733</c:v>
                </c:pt>
                <c:pt idx="19">
                  <c:v>0.85719303641823441</c:v>
                </c:pt>
                <c:pt idx="20">
                  <c:v>0.78197004161366457</c:v>
                </c:pt>
                <c:pt idx="21">
                  <c:v>0.69703071129708638</c:v>
                </c:pt>
                <c:pt idx="22">
                  <c:v>0.79071387982439756</c:v>
                </c:pt>
                <c:pt idx="23">
                  <c:v>0.88455450114308931</c:v>
                </c:pt>
                <c:pt idx="24">
                  <c:v>1.0196652421871197</c:v>
                </c:pt>
                <c:pt idx="25">
                  <c:v>1.1154654321101694</c:v>
                </c:pt>
                <c:pt idx="26">
                  <c:v>1.3246385889547703</c:v>
                </c:pt>
                <c:pt idx="27">
                  <c:v>1.3903689367482381</c:v>
                </c:pt>
                <c:pt idx="28">
                  <c:v>1.2142901567469886</c:v>
                </c:pt>
                <c:pt idx="29">
                  <c:v>1.0101815115591093</c:v>
                </c:pt>
                <c:pt idx="30">
                  <c:v>0.86238905481134409</c:v>
                </c:pt>
                <c:pt idx="31">
                  <c:v>0.90873194300402316</c:v>
                </c:pt>
                <c:pt idx="32">
                  <c:v>0.90889323356956364</c:v>
                </c:pt>
                <c:pt idx="33">
                  <c:v>0.95210305170981779</c:v>
                </c:pt>
                <c:pt idx="34">
                  <c:v>1.0118490056185914</c:v>
                </c:pt>
                <c:pt idx="35">
                  <c:v>1.1271547091020271</c:v>
                </c:pt>
              </c:numCache>
            </c:numRef>
          </c:val>
          <c:extLst>
            <c:ext xmlns:c16="http://schemas.microsoft.com/office/drawing/2014/chart" uri="{C3380CC4-5D6E-409C-BE32-E72D297353CC}">
              <c16:uniqueId val="{00000001-0A2C-49BD-A8FC-8FC0C3CC6F8F}"/>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03062232603219E-2"/>
          <c:y val="0.11501253847322537"/>
          <c:w val="0.96552354726914169"/>
          <c:h val="0.94320261756785895"/>
        </c:manualLayout>
      </c:layout>
      <c:barChart>
        <c:barDir val="col"/>
        <c:grouping val="clustered"/>
        <c:varyColors val="0"/>
        <c:ser>
          <c:idx val="3"/>
          <c:order val="0"/>
          <c:tx>
            <c:strRef>
              <c:f>Sheet1!$E$1</c:f>
              <c:strCache>
                <c:ptCount val="1"/>
                <c:pt idx="0">
                  <c:v>Nrgb</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E$2:$E$37</c:f>
              <c:numCache>
                <c:formatCode>0%</c:formatCode>
                <c:ptCount val="36"/>
                <c:pt idx="0">
                  <c:v>0.97346623595315596</c:v>
                </c:pt>
                <c:pt idx="1">
                  <c:v>1.0813626903488831</c:v>
                </c:pt>
                <c:pt idx="2">
                  <c:v>1.3072521133945396</c:v>
                </c:pt>
                <c:pt idx="3">
                  <c:v>1.3561873664469997</c:v>
                </c:pt>
                <c:pt idx="4">
                  <c:v>1.0898344432297895</c:v>
                </c:pt>
                <c:pt idx="5">
                  <c:v>0.88818527580076378</c:v>
                </c:pt>
                <c:pt idx="6">
                  <c:v>0.82040801349671721</c:v>
                </c:pt>
                <c:pt idx="7">
                  <c:v>0.92884068947869902</c:v>
                </c:pt>
                <c:pt idx="8">
                  <c:v>0.70958580508109725</c:v>
                </c:pt>
                <c:pt idx="9">
                  <c:v>0.62519713036216695</c:v>
                </c:pt>
                <c:pt idx="10">
                  <c:v>0.74014261308297413</c:v>
                </c:pt>
                <c:pt idx="11">
                  <c:v>0.94458038542152689</c:v>
                </c:pt>
                <c:pt idx="12">
                  <c:v>1.1010776516684742</c:v>
                </c:pt>
                <c:pt idx="13">
                  <c:v>1.2038247347286628</c:v>
                </c:pt>
                <c:pt idx="14">
                  <c:v>1.3819916874247298</c:v>
                </c:pt>
                <c:pt idx="15">
                  <c:v>1.4659290315492048</c:v>
                </c:pt>
                <c:pt idx="16">
                  <c:v>1.0938482636191424</c:v>
                </c:pt>
                <c:pt idx="17">
                  <c:v>0.97774590008408524</c:v>
                </c:pt>
                <c:pt idx="18">
                  <c:v>0.83163780148087829</c:v>
                </c:pt>
                <c:pt idx="19">
                  <c:v>0.92443899549705777</c:v>
                </c:pt>
                <c:pt idx="20">
                  <c:v>0.74983994709141588</c:v>
                </c:pt>
                <c:pt idx="21">
                  <c:v>0.64691968696880864</c:v>
                </c:pt>
                <c:pt idx="22">
                  <c:v>0.75565548841350183</c:v>
                </c:pt>
                <c:pt idx="23">
                  <c:v>0.88878856229882952</c:v>
                </c:pt>
                <c:pt idx="24">
                  <c:v>1.0291509922797555</c:v>
                </c:pt>
                <c:pt idx="25">
                  <c:v>1.1249568456998233</c:v>
                </c:pt>
                <c:pt idx="26">
                  <c:v>1.4078546885182839</c:v>
                </c:pt>
                <c:pt idx="27">
                  <c:v>1.4831419063050926</c:v>
                </c:pt>
                <c:pt idx="28">
                  <c:v>1.1973999712167878</c:v>
                </c:pt>
                <c:pt idx="29">
                  <c:v>0.95702186544084877</c:v>
                </c:pt>
                <c:pt idx="30">
                  <c:v>0.78691274365855679</c:v>
                </c:pt>
                <c:pt idx="31">
                  <c:v>0.97235730210829541</c:v>
                </c:pt>
                <c:pt idx="32">
                  <c:v>0.91585505205963347</c:v>
                </c:pt>
                <c:pt idx="33">
                  <c:v>0.9285825080337341</c:v>
                </c:pt>
                <c:pt idx="34">
                  <c:v>0.99989489099506379</c:v>
                </c:pt>
                <c:pt idx="35">
                  <c:v>1.1556675489115686</c:v>
                </c:pt>
              </c:numCache>
            </c:numRef>
          </c:val>
          <c:extLst>
            <c:ext xmlns:c16="http://schemas.microsoft.com/office/drawing/2014/chart" uri="{C3380CC4-5D6E-409C-BE32-E72D297353CC}">
              <c16:uniqueId val="{00000003-5FED-4CF9-B2A1-636C1E7435E8}"/>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C$1</c:f>
              <c:strCache>
                <c:ptCount val="1"/>
                <c:pt idx="0">
                  <c:v>Big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C$2:$C$37</c:f>
              <c:numCache>
                <c:formatCode>0%</c:formatCode>
                <c:ptCount val="36"/>
                <c:pt idx="0">
                  <c:v>0.97769335396900214</c:v>
                </c:pt>
                <c:pt idx="1">
                  <c:v>1.0684026941505411</c:v>
                </c:pt>
                <c:pt idx="2">
                  <c:v>1.227788338650863</c:v>
                </c:pt>
                <c:pt idx="3">
                  <c:v>1.2600249267555805</c:v>
                </c:pt>
                <c:pt idx="4">
                  <c:v>1.0918592645087959</c:v>
                </c:pt>
                <c:pt idx="5">
                  <c:v>0.95771669383942326</c:v>
                </c:pt>
                <c:pt idx="6">
                  <c:v>0.83219611340774713</c:v>
                </c:pt>
                <c:pt idx="7">
                  <c:v>0.81834298268274142</c:v>
                </c:pt>
                <c:pt idx="8">
                  <c:v>0.88385620277610388</c:v>
                </c:pt>
                <c:pt idx="9">
                  <c:v>0.80517208351256697</c:v>
                </c:pt>
                <c:pt idx="10">
                  <c:v>0.9015653700076367</c:v>
                </c:pt>
                <c:pt idx="11">
                  <c:v>0.96767243413039483</c:v>
                </c:pt>
                <c:pt idx="12">
                  <c:v>1.1135997973792224</c:v>
                </c:pt>
                <c:pt idx="13">
                  <c:v>1.1319284492778312</c:v>
                </c:pt>
                <c:pt idx="14">
                  <c:v>1.2471325483184159</c:v>
                </c:pt>
                <c:pt idx="15">
                  <c:v>1.2700266471810697</c:v>
                </c:pt>
                <c:pt idx="16">
                  <c:v>1.0558129473154825</c:v>
                </c:pt>
                <c:pt idx="17">
                  <c:v>0.96994353867049321</c:v>
                </c:pt>
                <c:pt idx="18">
                  <c:v>0.82763802860581237</c:v>
                </c:pt>
                <c:pt idx="19">
                  <c:v>0.82565195282496984</c:v>
                </c:pt>
                <c:pt idx="20">
                  <c:v>0.8734375393789986</c:v>
                </c:pt>
                <c:pt idx="21">
                  <c:v>0.77022486702200921</c:v>
                </c:pt>
                <c:pt idx="22">
                  <c:v>0.86712822471444584</c:v>
                </c:pt>
                <c:pt idx="23">
                  <c:v>0.92604347311977919</c:v>
                </c:pt>
                <c:pt idx="24">
                  <c:v>1.0342509203635326</c:v>
                </c:pt>
                <c:pt idx="25">
                  <c:v>1.0937835038941166</c:v>
                </c:pt>
                <c:pt idx="26">
                  <c:v>1.2287083096919564</c:v>
                </c:pt>
                <c:pt idx="27">
                  <c:v>1.3004179911042999</c:v>
                </c:pt>
                <c:pt idx="28">
                  <c:v>1.1552634977634784</c:v>
                </c:pt>
                <c:pt idx="29">
                  <c:v>0.98258002329880667</c:v>
                </c:pt>
                <c:pt idx="30">
                  <c:v>0.86772511051917489</c:v>
                </c:pt>
                <c:pt idx="31">
                  <c:v>0.90043653912940158</c:v>
                </c:pt>
                <c:pt idx="32">
                  <c:v>0.93139931325784975</c:v>
                </c:pt>
                <c:pt idx="33">
                  <c:v>0.96374922439900401</c:v>
                </c:pt>
                <c:pt idx="34">
                  <c:v>1.0313290190154365</c:v>
                </c:pt>
                <c:pt idx="35">
                  <c:v>1.0735224433277097</c:v>
                </c:pt>
              </c:numCache>
            </c:numRef>
          </c:val>
          <c:extLst>
            <c:ext xmlns:c16="http://schemas.microsoft.com/office/drawing/2014/chart" uri="{C3380CC4-5D6E-409C-BE32-E72D297353CC}">
              <c16:uniqueId val="{00000003-DDC5-4BB0-9697-B3C6B8123A4B}"/>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D$1</c:f>
              <c:strCache>
                <c:ptCount val="1"/>
                <c:pt idx="0">
                  <c:v>Can</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D$2:$D$37</c:f>
              <c:numCache>
                <c:formatCode>0%</c:formatCode>
                <c:ptCount val="36"/>
                <c:pt idx="0">
                  <c:v>0.97735978615950803</c:v>
                </c:pt>
                <c:pt idx="1">
                  <c:v>1.083530041128921</c:v>
                </c:pt>
                <c:pt idx="2">
                  <c:v>1.3669011866997434</c:v>
                </c:pt>
                <c:pt idx="3">
                  <c:v>1.3536110961997165</c:v>
                </c:pt>
                <c:pt idx="4">
                  <c:v>1.0282181550884235</c:v>
                </c:pt>
                <c:pt idx="5">
                  <c:v>0.89833467402918188</c:v>
                </c:pt>
                <c:pt idx="6">
                  <c:v>0.81859239811754014</c:v>
                </c:pt>
                <c:pt idx="7">
                  <c:v>0.8507952229424296</c:v>
                </c:pt>
                <c:pt idx="8">
                  <c:v>0.73762939503577918</c:v>
                </c:pt>
                <c:pt idx="9">
                  <c:v>0.68218881682196497</c:v>
                </c:pt>
                <c:pt idx="10">
                  <c:v>0.7575796813250365</c:v>
                </c:pt>
                <c:pt idx="11">
                  <c:v>0.92055483630650836</c:v>
                </c:pt>
                <c:pt idx="12">
                  <c:v>1.0915680840017985</c:v>
                </c:pt>
                <c:pt idx="13">
                  <c:v>1.1929137612785661</c:v>
                </c:pt>
                <c:pt idx="14">
                  <c:v>1.3948021002648652</c:v>
                </c:pt>
                <c:pt idx="15">
                  <c:v>1.4188639801888696</c:v>
                </c:pt>
                <c:pt idx="16">
                  <c:v>1.0783770646851871</c:v>
                </c:pt>
                <c:pt idx="17">
                  <c:v>0.97033613215978043</c:v>
                </c:pt>
                <c:pt idx="18">
                  <c:v>0.85675401083014457</c:v>
                </c:pt>
                <c:pt idx="19">
                  <c:v>0.89843213710149927</c:v>
                </c:pt>
                <c:pt idx="20">
                  <c:v>0.73048896520605999</c:v>
                </c:pt>
                <c:pt idx="21">
                  <c:v>0.66703125832099486</c:v>
                </c:pt>
                <c:pt idx="22">
                  <c:v>0.74060926482889589</c:v>
                </c:pt>
                <c:pt idx="23">
                  <c:v>0.86104337079131998</c:v>
                </c:pt>
                <c:pt idx="24">
                  <c:v>1.0180034856251248</c:v>
                </c:pt>
                <c:pt idx="25">
                  <c:v>1.1633321402422965</c:v>
                </c:pt>
                <c:pt idx="26">
                  <c:v>1.3983819729257696</c:v>
                </c:pt>
                <c:pt idx="27">
                  <c:v>1.4382841999907983</c:v>
                </c:pt>
                <c:pt idx="28">
                  <c:v>1.2147328953855996</c:v>
                </c:pt>
                <c:pt idx="29">
                  <c:v>1.0064172304867123</c:v>
                </c:pt>
                <c:pt idx="30">
                  <c:v>0.84639471783698872</c:v>
                </c:pt>
                <c:pt idx="31">
                  <c:v>0.91528049835943937</c:v>
                </c:pt>
                <c:pt idx="32">
                  <c:v>0.84244983935623963</c:v>
                </c:pt>
                <c:pt idx="33">
                  <c:v>0.92038639532838662</c:v>
                </c:pt>
                <c:pt idx="34">
                  <c:v>1.0481721229143046</c:v>
                </c:pt>
                <c:pt idx="35">
                  <c:v>1.1889916424010691</c:v>
                </c:pt>
              </c:numCache>
            </c:numRef>
          </c:val>
          <c:extLst>
            <c:ext xmlns:c16="http://schemas.microsoft.com/office/drawing/2014/chart" uri="{C3380CC4-5D6E-409C-BE32-E72D297353CC}">
              <c16:uniqueId val="{00000003-BAFB-416C-8099-2FCB03A791A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8830866852403085"/>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0C6F5DD5-5829-4515-A643-911F5004B337}"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738-4A3D-98BB-3D0CBF671497}"/>
                </c:ext>
              </c:extLst>
            </c:dLbl>
            <c:dLbl>
              <c:idx val="1"/>
              <c:tx>
                <c:rich>
                  <a:bodyPr/>
                  <a:lstStyle/>
                  <a:p>
                    <a:fld id="{949D4F11-6EF5-4AA9-A2A1-6486A033D31A}"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738-4A3D-98BB-3D0CBF671497}"/>
                </c:ext>
              </c:extLst>
            </c:dLbl>
            <c:dLbl>
              <c:idx val="2"/>
              <c:tx>
                <c:rich>
                  <a:bodyPr/>
                  <a:lstStyle/>
                  <a:p>
                    <a:fld id="{2231AA22-8B94-46BC-823C-051E28D9B1CF}"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738-4A3D-98BB-3D0CBF671497}"/>
                </c:ext>
              </c:extLst>
            </c:dLbl>
            <c:dLbl>
              <c:idx val="3"/>
              <c:tx>
                <c:rich>
                  <a:bodyPr/>
                  <a:lstStyle/>
                  <a:p>
                    <a:fld id="{29C35A73-D27A-483A-AF23-C7F3C1A09426}"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738-4A3D-98BB-3D0CBF671497}"/>
                </c:ext>
              </c:extLst>
            </c:dLbl>
            <c:dLbl>
              <c:idx val="4"/>
              <c:tx>
                <c:rich>
                  <a:bodyPr/>
                  <a:lstStyle/>
                  <a:p>
                    <a:fld id="{FB13E4DC-008A-4BDE-A5C2-AFB18A627F57}"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738-4A3D-98BB-3D0CBF671497}"/>
                </c:ext>
              </c:extLst>
            </c:dLbl>
            <c:dLbl>
              <c:idx val="5"/>
              <c:tx>
                <c:rich>
                  <a:bodyPr/>
                  <a:lstStyle/>
                  <a:p>
                    <a:fld id="{FDED90FA-307B-4D89-8F33-781991B0AC32}"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738-4A3D-98BB-3D0CBF671497}"/>
                </c:ext>
              </c:extLst>
            </c:dLbl>
            <c:dLbl>
              <c:idx val="6"/>
              <c:tx>
                <c:rich>
                  <a:bodyPr/>
                  <a:lstStyle/>
                  <a:p>
                    <a:fld id="{1E78187C-DBCD-408D-8028-92E3CE5ABBFC}"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C738-4A3D-98BB-3D0CBF671497}"/>
                </c:ext>
              </c:extLst>
            </c:dLbl>
            <c:dLbl>
              <c:idx val="7"/>
              <c:tx>
                <c:rich>
                  <a:bodyPr/>
                  <a:lstStyle/>
                  <a:p>
                    <a:fld id="{62B3F417-612F-42AF-8CDF-E5E1DA48FD0A}"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C738-4A3D-98BB-3D0CBF671497}"/>
                </c:ext>
              </c:extLst>
            </c:dLbl>
            <c:dLbl>
              <c:idx val="8"/>
              <c:tx>
                <c:rich>
                  <a:bodyPr/>
                  <a:lstStyle/>
                  <a:p>
                    <a:fld id="{F3A92E07-C8A1-4809-8473-B304A25FBD0D}"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C738-4A3D-98BB-3D0CBF671497}"/>
                </c:ext>
              </c:extLst>
            </c:dLbl>
            <c:dLbl>
              <c:idx val="9"/>
              <c:tx>
                <c:rich>
                  <a:bodyPr/>
                  <a:lstStyle/>
                  <a:p>
                    <a:fld id="{ED0B44CF-B857-441E-9632-E1285680FE16}"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C738-4A3D-98BB-3D0CBF671497}"/>
                </c:ext>
              </c:extLst>
            </c:dLbl>
            <c:dLbl>
              <c:idx val="10"/>
              <c:tx>
                <c:rich>
                  <a:bodyPr/>
                  <a:lstStyle/>
                  <a:p>
                    <a:endParaRPr lang="en-CH"/>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C738-4A3D-98BB-3D0CBF671497}"/>
                </c:ext>
              </c:extLst>
            </c:dLbl>
            <c:dLbl>
              <c:idx val="11"/>
              <c:tx>
                <c:rich>
                  <a:bodyPr/>
                  <a:lstStyle/>
                  <a:p>
                    <a:endParaRPr lang="en-CH"/>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C738-4A3D-98BB-3D0CBF671497}"/>
                </c:ext>
              </c:extLst>
            </c:dLbl>
            <c:dLbl>
              <c:idx val="12"/>
              <c:tx>
                <c:rich>
                  <a:bodyPr/>
                  <a:lstStyle/>
                  <a:p>
                    <a:endParaRPr lang="en-CH"/>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C738-4A3D-98BB-3D0CBF671497}"/>
                </c:ext>
              </c:extLst>
            </c:dLbl>
            <c:dLbl>
              <c:idx val="13"/>
              <c:tx>
                <c:rich>
                  <a:bodyPr/>
                  <a:lstStyle/>
                  <a:p>
                    <a:fld id="{03F36746-F689-4257-90B6-51FDACA87E23}"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C738-4A3D-98BB-3D0CBF671497}"/>
                </c:ext>
              </c:extLst>
            </c:dLbl>
            <c:dLbl>
              <c:idx val="14"/>
              <c:tx>
                <c:rich>
                  <a:bodyPr/>
                  <a:lstStyle/>
                  <a:p>
                    <a:fld id="{2F27C326-212A-4972-B286-D6C3CF47FA5A}"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C738-4A3D-98BB-3D0CBF671497}"/>
                </c:ext>
              </c:extLst>
            </c:dLbl>
            <c:dLbl>
              <c:idx val="15"/>
              <c:tx>
                <c:rich>
                  <a:bodyPr/>
                  <a:lstStyle/>
                  <a:p>
                    <a:fld id="{D909D7E3-469B-4181-881B-E24F28B0C9DB}"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C738-4A3D-98BB-3D0CBF671497}"/>
                </c:ext>
              </c:extLst>
            </c:dLbl>
            <c:dLbl>
              <c:idx val="16"/>
              <c:tx>
                <c:rich>
                  <a:bodyPr/>
                  <a:lstStyle/>
                  <a:p>
                    <a:endParaRPr lang="en-CH"/>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C738-4A3D-98BB-3D0CBF671497}"/>
                </c:ext>
              </c:extLst>
            </c:dLbl>
            <c:dLbl>
              <c:idx val="17"/>
              <c:tx>
                <c:rich>
                  <a:bodyPr/>
                  <a:lstStyle/>
                  <a:p>
                    <a:endParaRPr lang="en-CH"/>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C738-4A3D-98BB-3D0CBF671497}"/>
                </c:ext>
              </c:extLst>
            </c:dLbl>
            <c:dLbl>
              <c:idx val="18"/>
              <c:tx>
                <c:rich>
                  <a:bodyPr/>
                  <a:lstStyle/>
                  <a:p>
                    <a:endParaRPr lang="en-CH"/>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C738-4A3D-98BB-3D0CBF671497}"/>
                </c:ext>
              </c:extLst>
            </c:dLbl>
            <c:dLbl>
              <c:idx val="19"/>
              <c:tx>
                <c:rich>
                  <a:bodyPr/>
                  <a:lstStyle/>
                  <a:p>
                    <a:fld id="{EC357A64-2337-4312-85E4-B0D193C911DC}"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C738-4A3D-98BB-3D0CBF671497}"/>
                </c:ext>
              </c:extLst>
            </c:dLbl>
            <c:dLbl>
              <c:idx val="20"/>
              <c:tx>
                <c:rich>
                  <a:bodyPr/>
                  <a:lstStyle/>
                  <a:p>
                    <a:fld id="{8FA0A4CD-8F27-4189-8912-0A2CC7374F71}"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C738-4A3D-98BB-3D0CBF671497}"/>
                </c:ext>
              </c:extLst>
            </c:dLbl>
            <c:dLbl>
              <c:idx val="21"/>
              <c:tx>
                <c:rich>
                  <a:bodyPr/>
                  <a:lstStyle/>
                  <a:p>
                    <a:fld id="{33510A48-CFBD-4324-8ED9-A19C088CB46A}"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C738-4A3D-98BB-3D0CBF671497}"/>
                </c:ext>
              </c:extLst>
            </c:dLbl>
            <c:dLbl>
              <c:idx val="22"/>
              <c:tx>
                <c:rich>
                  <a:bodyPr/>
                  <a:lstStyle/>
                  <a:p>
                    <a:endParaRPr lang="en-CH"/>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C738-4A3D-98BB-3D0CBF671497}"/>
                </c:ext>
              </c:extLst>
            </c:dLbl>
            <c:dLbl>
              <c:idx val="23"/>
              <c:tx>
                <c:rich>
                  <a:bodyPr/>
                  <a:lstStyle/>
                  <a:p>
                    <a:endParaRPr lang="en-CH"/>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C738-4A3D-98BB-3D0CBF671497}"/>
                </c:ext>
              </c:extLst>
            </c:dLbl>
            <c:dLbl>
              <c:idx val="24"/>
              <c:tx>
                <c:rich>
                  <a:bodyPr/>
                  <a:lstStyle/>
                  <a:p>
                    <a:endParaRPr lang="en-CH"/>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C738-4A3D-98BB-3D0CBF671497}"/>
                </c:ext>
              </c:extLst>
            </c:dLbl>
            <c:dLbl>
              <c:idx val="25"/>
              <c:tx>
                <c:rich>
                  <a:bodyPr/>
                  <a:lstStyle/>
                  <a:p>
                    <a:fld id="{87F13BF3-98E0-421F-B91C-54087DAD4B52}"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C738-4A3D-98BB-3D0CBF671497}"/>
                </c:ext>
              </c:extLst>
            </c:dLbl>
            <c:dLbl>
              <c:idx val="26"/>
              <c:tx>
                <c:rich>
                  <a:bodyPr/>
                  <a:lstStyle/>
                  <a:p>
                    <a:fld id="{2B057A86-9015-404B-9111-478EF1AFA3B9}"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C738-4A3D-98BB-3D0CBF671497}"/>
                </c:ext>
              </c:extLst>
            </c:dLbl>
            <c:dLbl>
              <c:idx val="27"/>
              <c:tx>
                <c:rich>
                  <a:bodyPr/>
                  <a:lstStyle/>
                  <a:p>
                    <a:fld id="{A72CCCF2-ED8A-45EE-87EB-15F9C0B84557}"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C738-4A3D-98BB-3D0CBF671497}"/>
                </c:ext>
              </c:extLst>
            </c:dLbl>
            <c:dLbl>
              <c:idx val="28"/>
              <c:tx>
                <c:rich>
                  <a:bodyPr/>
                  <a:lstStyle/>
                  <a:p>
                    <a:fld id="{9E986330-B954-4593-90A3-C2F1E9832944}"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C738-4A3D-98BB-3D0CBF671497}"/>
                </c:ext>
              </c:extLst>
            </c:dLbl>
            <c:dLbl>
              <c:idx val="29"/>
              <c:tx>
                <c:rich>
                  <a:bodyPr/>
                  <a:lstStyle/>
                  <a:p>
                    <a:endParaRPr lang="en-CH"/>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C738-4A3D-98BB-3D0CBF671497}"/>
                </c:ext>
              </c:extLst>
            </c:dLbl>
            <c:dLbl>
              <c:idx val="30"/>
              <c:tx>
                <c:rich>
                  <a:bodyPr/>
                  <a:lstStyle/>
                  <a:p>
                    <a:endParaRPr lang="en-CH"/>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C738-4A3D-98BB-3D0CBF671497}"/>
                </c:ext>
              </c:extLst>
            </c:dLbl>
            <c:dLbl>
              <c:idx val="31"/>
              <c:tx>
                <c:rich>
                  <a:bodyPr/>
                  <a:lstStyle/>
                  <a:p>
                    <a:fld id="{85B5FFF3-77EF-49F7-8FE8-E12C4983A5CC}"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C738-4A3D-98BB-3D0CBF671497}"/>
                </c:ext>
              </c:extLst>
            </c:dLbl>
            <c:dLbl>
              <c:idx val="32"/>
              <c:tx>
                <c:rich>
                  <a:bodyPr/>
                  <a:lstStyle/>
                  <a:p>
                    <a:fld id="{ED692839-3608-45B1-B39D-159582BBE259}"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C738-4A3D-98BB-3D0CBF671497}"/>
                </c:ext>
              </c:extLst>
            </c:dLbl>
            <c:dLbl>
              <c:idx val="33"/>
              <c:tx>
                <c:rich>
                  <a:bodyPr/>
                  <a:lstStyle/>
                  <a:p>
                    <a:fld id="{A34DAD01-160C-48A5-903F-FA2666796E45}"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C738-4A3D-98BB-3D0CBF671497}"/>
                </c:ext>
              </c:extLst>
            </c:dLbl>
            <c:dLbl>
              <c:idx val="34"/>
              <c:tx>
                <c:rich>
                  <a:bodyPr/>
                  <a:lstStyle/>
                  <a:p>
                    <a:endParaRPr lang="en-CH"/>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C738-4A3D-98BB-3D0CBF671497}"/>
                </c:ext>
              </c:extLst>
            </c:dLbl>
            <c:dLbl>
              <c:idx val="35"/>
              <c:tx>
                <c:rich>
                  <a:bodyPr/>
                  <a:lstStyle/>
                  <a:p>
                    <a:endParaRPr lang="en-CH"/>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C738-4A3D-98BB-3D0CBF671497}"/>
                </c:ext>
              </c:extLst>
            </c:dLbl>
            <c:dLbl>
              <c:idx val="36"/>
              <c:tx>
                <c:rich>
                  <a:bodyPr/>
                  <a:lstStyle/>
                  <a:p>
                    <a:endParaRPr lang="en-CH"/>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C738-4A3D-98BB-3D0CBF671497}"/>
                </c:ext>
              </c:extLst>
            </c:dLbl>
            <c:dLbl>
              <c:idx val="37"/>
              <c:tx>
                <c:rich>
                  <a:bodyPr/>
                  <a:lstStyle/>
                  <a:p>
                    <a:fld id="{1E29194D-F913-4858-95B0-21CECFAC428C}"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C738-4A3D-98BB-3D0CBF671497}"/>
                </c:ext>
              </c:extLst>
            </c:dLbl>
            <c:dLbl>
              <c:idx val="38"/>
              <c:tx>
                <c:rich>
                  <a:bodyPr/>
                  <a:lstStyle/>
                  <a:p>
                    <a:fld id="{2F8276EE-C25E-4D14-B21C-D3AED42BCF31}"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C738-4A3D-98BB-3D0CBF671497}"/>
                </c:ext>
              </c:extLst>
            </c:dLbl>
            <c:dLbl>
              <c:idx val="39"/>
              <c:tx>
                <c:rich>
                  <a:bodyPr/>
                  <a:lstStyle/>
                  <a:p>
                    <a:fld id="{37D22D05-E138-45F9-B746-CDE5B130C9CC}"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C738-4A3D-98BB-3D0CBF671497}"/>
                </c:ext>
              </c:extLst>
            </c:dLbl>
            <c:dLbl>
              <c:idx val="40"/>
              <c:tx>
                <c:rich>
                  <a:bodyPr/>
                  <a:lstStyle/>
                  <a:p>
                    <a:endParaRPr lang="en-CH"/>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C738-4A3D-98BB-3D0CBF671497}"/>
                </c:ext>
              </c:extLst>
            </c:dLbl>
            <c:dLbl>
              <c:idx val="41"/>
              <c:tx>
                <c:rich>
                  <a:bodyPr/>
                  <a:lstStyle/>
                  <a:p>
                    <a:endParaRPr lang="en-CH"/>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C738-4A3D-98BB-3D0CBF671497}"/>
                </c:ext>
              </c:extLst>
            </c:dLbl>
            <c:dLbl>
              <c:idx val="42"/>
              <c:tx>
                <c:rich>
                  <a:bodyPr/>
                  <a:lstStyle/>
                  <a:p>
                    <a:endParaRPr lang="en-CH"/>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C738-4A3D-98BB-3D0CBF671497}"/>
                </c:ext>
              </c:extLst>
            </c:dLbl>
            <c:dLbl>
              <c:idx val="43"/>
              <c:tx>
                <c:rich>
                  <a:bodyPr/>
                  <a:lstStyle/>
                  <a:p>
                    <a:fld id="{674E45E4-8F6E-4A85-98D8-109B34B528DF}"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C738-4A3D-98BB-3D0CBF671497}"/>
                </c:ext>
              </c:extLst>
            </c:dLbl>
            <c:dLbl>
              <c:idx val="44"/>
              <c:tx>
                <c:rich>
                  <a:bodyPr/>
                  <a:lstStyle/>
                  <a:p>
                    <a:fld id="{A8540FEB-1B6C-47F2-A414-92B1F99FF356}"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C738-4A3D-98BB-3D0CBF671497}"/>
                </c:ext>
              </c:extLst>
            </c:dLbl>
            <c:dLbl>
              <c:idx val="45"/>
              <c:tx>
                <c:rich>
                  <a:bodyPr/>
                  <a:lstStyle/>
                  <a:p>
                    <a:fld id="{2F3865BF-0C77-41E1-9AB9-EBFECA8B0AF3}"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C738-4A3D-98BB-3D0CBF671497}"/>
                </c:ext>
              </c:extLst>
            </c:dLbl>
            <c:dLbl>
              <c:idx val="46"/>
              <c:tx>
                <c:rich>
                  <a:bodyPr/>
                  <a:lstStyle/>
                  <a:p>
                    <a:endParaRPr lang="en-CH"/>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C738-4A3D-98BB-3D0CBF671497}"/>
                </c:ext>
              </c:extLst>
            </c:dLbl>
            <c:dLbl>
              <c:idx val="47"/>
              <c:tx>
                <c:rich>
                  <a:bodyPr/>
                  <a:lstStyle/>
                  <a:p>
                    <a:endParaRPr lang="en-CH"/>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C738-4A3D-98BB-3D0CBF671497}"/>
                </c:ext>
              </c:extLst>
            </c:dLbl>
            <c:dLbl>
              <c:idx val="48"/>
              <c:tx>
                <c:rich>
                  <a:bodyPr/>
                  <a:lstStyle/>
                  <a:p>
                    <a:endParaRPr lang="en-CH"/>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C738-4A3D-98BB-3D0CBF671497}"/>
                </c:ext>
              </c:extLst>
            </c:dLbl>
            <c:dLbl>
              <c:idx val="49"/>
              <c:tx>
                <c:rich>
                  <a:bodyPr/>
                  <a:lstStyle/>
                  <a:p>
                    <a:fld id="{52BFA1C5-F2C2-43CB-AF44-B84DD22D4197}"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C738-4A3D-98BB-3D0CBF671497}"/>
                </c:ext>
              </c:extLst>
            </c:dLbl>
            <c:dLbl>
              <c:idx val="50"/>
              <c:tx>
                <c:rich>
                  <a:bodyPr/>
                  <a:lstStyle/>
                  <a:p>
                    <a:fld id="{278557F4-7708-4C20-8BD8-6E05B3B4A179}"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C738-4A3D-98BB-3D0CBF671497}"/>
                </c:ext>
              </c:extLst>
            </c:dLbl>
            <c:dLbl>
              <c:idx val="51"/>
              <c:tx>
                <c:rich>
                  <a:bodyPr/>
                  <a:lstStyle/>
                  <a:p>
                    <a:fld id="{308EE48B-D8FD-4429-A135-F9F8B9CF5F76}"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C738-4A3D-98BB-3D0CBF67149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C738-4A3D-98BB-3D0CBF671497}"/>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C738-4A3D-98BB-3D0CBF671497}"/>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C$2:$C$53</c:f>
              <c:numCache>
                <c:formatCode>General</c:formatCode>
                <c:ptCount val="52"/>
                <c:pt idx="2" formatCode="0%">
                  <c:v>1</c:v>
                </c:pt>
                <c:pt idx="3" formatCode="0%">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22" formatCode="0%">
                  <c:v>1</c:v>
                </c:pt>
                <c:pt idx="23" formatCode="0%">
                  <c:v>1</c:v>
                </c:pt>
                <c:pt idx="24" formatCode="0%">
                  <c:v>1</c:v>
                </c:pt>
                <c:pt idx="34" formatCode="0%">
                  <c:v>1</c:v>
                </c:pt>
                <c:pt idx="39" formatCode="0%">
                  <c:v>1</c:v>
                </c:pt>
                <c:pt idx="40" formatCode="0%">
                  <c:v>1</c:v>
                </c:pt>
                <c:pt idx="41" formatCode="0%">
                  <c:v>1</c:v>
                </c:pt>
                <c:pt idx="42" formatCode="0%">
                  <c:v>1</c:v>
                </c:pt>
                <c:pt idx="43" formatCode="0%">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B$2:$B$53</c:f>
              <c:numCache>
                <c:formatCode>General</c:formatCode>
                <c:ptCount val="52"/>
                <c:pt idx="2" formatCode="0%">
                  <c:v>0.11367872175570121</c:v>
                </c:pt>
                <c:pt idx="3" formatCode="0%">
                  <c:v>0.12132533378739771</c:v>
                </c:pt>
                <c:pt idx="4" formatCode="0%">
                  <c:v>0.2148614964962611</c:v>
                </c:pt>
                <c:pt idx="5" formatCode="0%">
                  <c:v>0.17336822212530892</c:v>
                </c:pt>
                <c:pt idx="6" formatCode="0%">
                  <c:v>0.16371495760272436</c:v>
                </c:pt>
                <c:pt idx="7" formatCode="0%">
                  <c:v>0.359005905511811</c:v>
                </c:pt>
                <c:pt idx="8" formatCode="0%">
                  <c:v>0.35807339627396623</c:v>
                </c:pt>
                <c:pt idx="9" formatCode="0%">
                  <c:v>0.3262485253637436</c:v>
                </c:pt>
                <c:pt idx="10" formatCode="0%">
                  <c:v>0.18571348293560108</c:v>
                </c:pt>
                <c:pt idx="11" formatCode="0%">
                  <c:v>0.14821256608297467</c:v>
                </c:pt>
                <c:pt idx="12" formatCode="0%">
                  <c:v>0.11874984490930296</c:v>
                </c:pt>
                <c:pt idx="13" formatCode="0%">
                  <c:v>0.26535114062005177</c:v>
                </c:pt>
                <c:pt idx="22" formatCode="0%">
                  <c:v>0.40337942434339991</c:v>
                </c:pt>
                <c:pt idx="23" formatCode="0%">
                  <c:v>0.48057218130862606</c:v>
                </c:pt>
                <c:pt idx="24" formatCode="0%">
                  <c:v>8.1719681066375477E-2</c:v>
                </c:pt>
                <c:pt idx="34" formatCode="0%">
                  <c:v>0.14244945048272512</c:v>
                </c:pt>
                <c:pt idx="41" formatCode="0%">
                  <c:v>0.47272657381187294</c:v>
                </c:pt>
                <c:pt idx="42" formatCode="0%">
                  <c:v>0.62001930605459321</c:v>
                </c:pt>
                <c:pt idx="43" formatCode="0%">
                  <c:v>0.40657862283907709</c:v>
                </c:pt>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1ED046E7-6FEC-4430-9203-C47F9710FA38}"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7EB5AB14-A59E-457B-9D34-1ACD399C39BD}"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77E-4F29-87DF-0FE64D0B037A}"/>
                </c:ext>
              </c:extLst>
            </c:dLbl>
            <c:dLbl>
              <c:idx val="2"/>
              <c:tx>
                <c:rich>
                  <a:bodyPr/>
                  <a:lstStyle/>
                  <a:p>
                    <a:fld id="{FF66D2F4-49EE-4E5B-B4A7-7316002D2602}"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77E-4F29-87DF-0FE64D0B037A}"/>
                </c:ext>
              </c:extLst>
            </c:dLbl>
            <c:dLbl>
              <c:idx val="3"/>
              <c:tx>
                <c:rich>
                  <a:bodyPr/>
                  <a:lstStyle/>
                  <a:p>
                    <a:fld id="{E9991536-61B1-4334-9785-DF26922CFC96}"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77E-4F29-87DF-0FE64D0B037A}"/>
                </c:ext>
              </c:extLst>
            </c:dLbl>
            <c:dLbl>
              <c:idx val="4"/>
              <c:tx>
                <c:rich>
                  <a:bodyPr/>
                  <a:lstStyle/>
                  <a:p>
                    <a:fld id="{2A0B1D5D-120C-4E79-AB3E-FB6B5943EAD0}"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77E-4F29-87DF-0FE64D0B037A}"/>
                </c:ext>
              </c:extLst>
            </c:dLbl>
            <c:dLbl>
              <c:idx val="5"/>
              <c:tx>
                <c:rich>
                  <a:bodyPr/>
                  <a:lstStyle/>
                  <a:p>
                    <a:fld id="{6E324865-5742-4FCB-9084-88A849FED72F}"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77E-4F29-87DF-0FE64D0B037A}"/>
                </c:ext>
              </c:extLst>
            </c:dLbl>
            <c:dLbl>
              <c:idx val="6"/>
              <c:tx>
                <c:rich>
                  <a:bodyPr/>
                  <a:lstStyle/>
                  <a:p>
                    <a:fld id="{41285F4A-B5B1-4C91-A4BF-514DF54414EE}"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B77E-4F29-87DF-0FE64D0B037A}"/>
                </c:ext>
              </c:extLst>
            </c:dLbl>
            <c:dLbl>
              <c:idx val="7"/>
              <c:tx>
                <c:rich>
                  <a:bodyPr/>
                  <a:lstStyle/>
                  <a:p>
                    <a:fld id="{2D1B9AFF-F13E-4CBE-B026-FF1E4CF7B7FD}"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77E-4F29-87DF-0FE64D0B037A}"/>
                </c:ext>
              </c:extLst>
            </c:dLbl>
            <c:dLbl>
              <c:idx val="8"/>
              <c:tx>
                <c:rich>
                  <a:bodyPr/>
                  <a:lstStyle/>
                  <a:p>
                    <a:fld id="{178D5B20-CEC6-4882-9CA5-FA657C00E495}"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B77E-4F29-87DF-0FE64D0B037A}"/>
                </c:ext>
              </c:extLst>
            </c:dLbl>
            <c:dLbl>
              <c:idx val="9"/>
              <c:tx>
                <c:rich>
                  <a:bodyPr/>
                  <a:lstStyle/>
                  <a:p>
                    <a:fld id="{C15E0AB9-9D41-41E9-83DF-A2CDA1E11F43}"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77E-4F29-87DF-0FE64D0B037A}"/>
                </c:ext>
              </c:extLst>
            </c:dLbl>
            <c:dLbl>
              <c:idx val="10"/>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B77E-4F29-87DF-0FE64D0B037A}"/>
                </c:ext>
              </c:extLst>
            </c:dLbl>
            <c:dLbl>
              <c:idx val="11"/>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B77E-4F29-87DF-0FE64D0B037A}"/>
                </c:ext>
              </c:extLst>
            </c:dLbl>
            <c:dLbl>
              <c:idx val="12"/>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B77E-4F29-87DF-0FE64D0B037A}"/>
                </c:ext>
              </c:extLst>
            </c:dLbl>
            <c:dLbl>
              <c:idx val="13"/>
              <c:tx>
                <c:rich>
                  <a:bodyPr/>
                  <a:lstStyle/>
                  <a:p>
                    <a:fld id="{269E27A4-CA73-4D85-BDDF-9ED43895DF60}"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77E-4F29-87DF-0FE64D0B037A}"/>
                </c:ext>
              </c:extLst>
            </c:dLbl>
            <c:dLbl>
              <c:idx val="14"/>
              <c:tx>
                <c:rich>
                  <a:bodyPr/>
                  <a:lstStyle/>
                  <a:p>
                    <a:fld id="{FDF4F6A5-0EC3-4333-B95B-48B96DCFC8D1}"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B77E-4F29-87DF-0FE64D0B037A}"/>
                </c:ext>
              </c:extLst>
            </c:dLbl>
            <c:dLbl>
              <c:idx val="15"/>
              <c:tx>
                <c:rich>
                  <a:bodyPr/>
                  <a:lstStyle/>
                  <a:p>
                    <a:fld id="{9646BBBA-0124-45A9-B5F1-64686CE376F9}"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77E-4F29-87DF-0FE64D0B037A}"/>
                </c:ext>
              </c:extLst>
            </c:dLbl>
            <c:dLbl>
              <c:idx val="16"/>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B77E-4F29-87DF-0FE64D0B037A}"/>
                </c:ext>
              </c:extLst>
            </c:dLbl>
            <c:dLbl>
              <c:idx val="17"/>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B77E-4F29-87DF-0FE64D0B037A}"/>
                </c:ext>
              </c:extLst>
            </c:dLbl>
            <c:dLbl>
              <c:idx val="18"/>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B77E-4F29-87DF-0FE64D0B037A}"/>
                </c:ext>
              </c:extLst>
            </c:dLbl>
            <c:dLbl>
              <c:idx val="19"/>
              <c:tx>
                <c:rich>
                  <a:bodyPr/>
                  <a:lstStyle/>
                  <a:p>
                    <a:fld id="{D406DCAA-DE7A-42DB-A1E1-CC6896C66879}"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77E-4F29-87DF-0FE64D0B037A}"/>
                </c:ext>
              </c:extLst>
            </c:dLbl>
            <c:dLbl>
              <c:idx val="20"/>
              <c:tx>
                <c:rich>
                  <a:bodyPr/>
                  <a:lstStyle/>
                  <a:p>
                    <a:fld id="{DA20397E-7EC5-4B68-A993-445EB86AF3DD}"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77E-4F29-87DF-0FE64D0B037A}"/>
                </c:ext>
              </c:extLst>
            </c:dLbl>
            <c:dLbl>
              <c:idx val="21"/>
              <c:tx>
                <c:rich>
                  <a:bodyPr/>
                  <a:lstStyle/>
                  <a:p>
                    <a:fld id="{F821A93F-1286-4A17-8617-F40F39C5D807}"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77E-4F29-87DF-0FE64D0B037A}"/>
                </c:ext>
              </c:extLst>
            </c:dLbl>
            <c:dLbl>
              <c:idx val="22"/>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77E-4F29-87DF-0FE64D0B037A}"/>
                </c:ext>
              </c:extLst>
            </c:dLbl>
            <c:dLbl>
              <c:idx val="23"/>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77E-4F29-87DF-0FE64D0B037A}"/>
                </c:ext>
              </c:extLst>
            </c:dLbl>
            <c:dLbl>
              <c:idx val="24"/>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77E-4F29-87DF-0FE64D0B037A}"/>
                </c:ext>
              </c:extLst>
            </c:dLbl>
            <c:dLbl>
              <c:idx val="25"/>
              <c:tx>
                <c:rich>
                  <a:bodyPr/>
                  <a:lstStyle/>
                  <a:p>
                    <a:fld id="{DF463BB8-73FC-4576-9257-FB5787FCAC3C}"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77E-4F29-87DF-0FE64D0B037A}"/>
                </c:ext>
              </c:extLst>
            </c:dLbl>
            <c:dLbl>
              <c:idx val="26"/>
              <c:tx>
                <c:rich>
                  <a:bodyPr/>
                  <a:lstStyle/>
                  <a:p>
                    <a:fld id="{0CEDF73A-6D49-47E0-9420-842D61D60F26}"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77E-4F29-87DF-0FE64D0B037A}"/>
                </c:ext>
              </c:extLst>
            </c:dLbl>
            <c:dLbl>
              <c:idx val="27"/>
              <c:tx>
                <c:rich>
                  <a:bodyPr/>
                  <a:lstStyle/>
                  <a:p>
                    <a:fld id="{16998CCA-0570-4A82-A9C9-68D4875D898A}"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77E-4F29-87DF-0FE64D0B037A}"/>
                </c:ext>
              </c:extLst>
            </c:dLbl>
            <c:dLbl>
              <c:idx val="28"/>
              <c:tx>
                <c:rich>
                  <a:bodyPr/>
                  <a:lstStyle/>
                  <a:p>
                    <a:fld id="{41234578-CA9F-4DAB-AC4D-C6F7979BC4BF}"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77E-4F29-87DF-0FE64D0B037A}"/>
                </c:ext>
              </c:extLst>
            </c:dLbl>
            <c:dLbl>
              <c:idx val="29"/>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77E-4F29-87DF-0FE64D0B037A}"/>
                </c:ext>
              </c:extLst>
            </c:dLbl>
            <c:dLbl>
              <c:idx val="30"/>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77E-4F29-87DF-0FE64D0B037A}"/>
                </c:ext>
              </c:extLst>
            </c:dLbl>
            <c:dLbl>
              <c:idx val="31"/>
              <c:tx>
                <c:rich>
                  <a:bodyPr/>
                  <a:lstStyle/>
                  <a:p>
                    <a:fld id="{3794AD51-286F-4FD7-A0DD-5E5598096F8A}"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77E-4F29-87DF-0FE64D0B037A}"/>
                </c:ext>
              </c:extLst>
            </c:dLbl>
            <c:dLbl>
              <c:idx val="32"/>
              <c:tx>
                <c:rich>
                  <a:bodyPr/>
                  <a:lstStyle/>
                  <a:p>
                    <a:fld id="{79C5ACC2-1E84-4DC6-8BFD-0353806A37D1}"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77E-4F29-87DF-0FE64D0B037A}"/>
                </c:ext>
              </c:extLst>
            </c:dLbl>
            <c:dLbl>
              <c:idx val="33"/>
              <c:tx>
                <c:rich>
                  <a:bodyPr/>
                  <a:lstStyle/>
                  <a:p>
                    <a:fld id="{DD595554-8A56-4750-8241-84474DE11B63}"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77E-4F29-87DF-0FE64D0B037A}"/>
                </c:ext>
              </c:extLst>
            </c:dLbl>
            <c:dLbl>
              <c:idx val="34"/>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77E-4F29-87DF-0FE64D0B037A}"/>
                </c:ext>
              </c:extLst>
            </c:dLbl>
            <c:dLbl>
              <c:idx val="35"/>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77E-4F29-87DF-0FE64D0B037A}"/>
                </c:ext>
              </c:extLst>
            </c:dLbl>
            <c:dLbl>
              <c:idx val="36"/>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77E-4F29-87DF-0FE64D0B037A}"/>
                </c:ext>
              </c:extLst>
            </c:dLbl>
            <c:dLbl>
              <c:idx val="37"/>
              <c:tx>
                <c:rich>
                  <a:bodyPr/>
                  <a:lstStyle/>
                  <a:p>
                    <a:fld id="{FA3862D9-FB70-4BEC-B088-7034460FB881}"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77E-4F29-87DF-0FE64D0B037A}"/>
                </c:ext>
              </c:extLst>
            </c:dLbl>
            <c:dLbl>
              <c:idx val="38"/>
              <c:tx>
                <c:rich>
                  <a:bodyPr/>
                  <a:lstStyle/>
                  <a:p>
                    <a:fld id="{A1678956-09FA-4C7D-962A-56D06B4DE72C}"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77E-4F29-87DF-0FE64D0B037A}"/>
                </c:ext>
              </c:extLst>
            </c:dLbl>
            <c:dLbl>
              <c:idx val="39"/>
              <c:tx>
                <c:rich>
                  <a:bodyPr/>
                  <a:lstStyle/>
                  <a:p>
                    <a:fld id="{C6A6896A-ED38-4DEA-890B-2B1BA32BF22B}"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77E-4F29-87DF-0FE64D0B037A}"/>
                </c:ext>
              </c:extLst>
            </c:dLbl>
            <c:dLbl>
              <c:idx val="40"/>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77E-4F29-87DF-0FE64D0B037A}"/>
                </c:ext>
              </c:extLst>
            </c:dLbl>
            <c:dLbl>
              <c:idx val="41"/>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77E-4F29-87DF-0FE64D0B037A}"/>
                </c:ext>
              </c:extLst>
            </c:dLbl>
            <c:dLbl>
              <c:idx val="42"/>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77E-4F29-87DF-0FE64D0B037A}"/>
                </c:ext>
              </c:extLst>
            </c:dLbl>
            <c:dLbl>
              <c:idx val="43"/>
              <c:tx>
                <c:rich>
                  <a:bodyPr/>
                  <a:lstStyle/>
                  <a:p>
                    <a:fld id="{2850FCDC-2E57-4B5C-B864-40663768A281}"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77E-4F29-87DF-0FE64D0B037A}"/>
                </c:ext>
              </c:extLst>
            </c:dLbl>
            <c:dLbl>
              <c:idx val="44"/>
              <c:tx>
                <c:rich>
                  <a:bodyPr/>
                  <a:lstStyle/>
                  <a:p>
                    <a:fld id="{D10510AA-25EE-437D-B573-F34FB086139F}"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77E-4F29-87DF-0FE64D0B037A}"/>
                </c:ext>
              </c:extLst>
            </c:dLbl>
            <c:dLbl>
              <c:idx val="45"/>
              <c:tx>
                <c:rich>
                  <a:bodyPr/>
                  <a:lstStyle/>
                  <a:p>
                    <a:fld id="{9D9CB355-A339-47E9-BAB9-201EFF4F2FC1}"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77E-4F29-87DF-0FE64D0B037A}"/>
                </c:ext>
              </c:extLst>
            </c:dLbl>
            <c:dLbl>
              <c:idx val="46"/>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77E-4F29-87DF-0FE64D0B037A}"/>
                </c:ext>
              </c:extLst>
            </c:dLbl>
            <c:dLbl>
              <c:idx val="47"/>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77E-4F29-87DF-0FE64D0B037A}"/>
                </c:ext>
              </c:extLst>
            </c:dLbl>
            <c:dLbl>
              <c:idx val="48"/>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77E-4F29-87DF-0FE64D0B037A}"/>
                </c:ext>
              </c:extLst>
            </c:dLbl>
            <c:dLbl>
              <c:idx val="49"/>
              <c:tx>
                <c:rich>
                  <a:bodyPr/>
                  <a:lstStyle/>
                  <a:p>
                    <a:fld id="{CD29E516-4A68-4C43-BE50-C31BF0BF50DC}"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77E-4F29-87DF-0FE64D0B037A}"/>
                </c:ext>
              </c:extLst>
            </c:dLbl>
            <c:dLbl>
              <c:idx val="50"/>
              <c:tx>
                <c:rich>
                  <a:bodyPr/>
                  <a:lstStyle/>
                  <a:p>
                    <a:fld id="{F5ACC6E8-F95D-4096-BCF7-01E0A120109F}"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77E-4F29-87DF-0FE64D0B037A}"/>
                </c:ext>
              </c:extLst>
            </c:dLbl>
            <c:dLbl>
              <c:idx val="51"/>
              <c:tx>
                <c:rich>
                  <a:bodyPr/>
                  <a:lstStyle/>
                  <a:p>
                    <a:fld id="{A7ED3765-324B-4D72-8FDD-BB0FE56AC327}"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60D9ACBD-D445-4C11-8A6A-F72D68F8E9C7}"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0420EDA7-D9E6-4861-AE72-814582115D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8BCAB9BF-1CD2-4F1A-B4AD-B057341642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71774F25-7E60-4DE3-AE41-DF084DE3D3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E8B8EF70-B042-408E-A733-37C54A89DC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EBDB38D9-2C5C-4158-BC8A-475A3D24CE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E20AA88E-7870-4935-9DDF-FEB8CB6B8E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5C3B1B5D-9751-4BF9-8C83-72C31C4D55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C749BE63-1C59-423B-A23C-AD514D2AF9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EA69BB5C-DE51-4160-A372-35BF024AC8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B47C1DCA-0F6C-4F6E-BA7C-870B56D4A6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68D5249B-1FFD-4644-AC3D-4ADB669F34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20AAE3C9-218D-4921-BEA4-E7A3D598FF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04B35064-6F7F-4C7B-A547-7C5E0E1A0F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B9D71529-4829-44B2-9D98-CBC8848F6A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C05E402B-DCEC-4FF9-8EAC-64968071C5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18B3FF9E-FE31-4D35-B61D-202F858D95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44EB1D20-9BF5-4D49-952B-E133FB28F1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7C2CFB85-F876-46BA-9F52-5E8540F453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7A02F87B-2F57-4414-84C2-C848491B25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41342818-6B8F-4A5D-B06F-E7E9FD232A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DE93B69F-6CD6-4F84-9DBA-3C7EA0B339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60482FF8-1D3E-4251-8D57-B517BE6B3E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14E9E63D-D5BE-46AD-ACD9-F72AB9FDE5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F8A80AB3-D0A8-4F93-AA8F-C3F6BADC61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497FBD14-2B49-48BB-BA24-B91AAE3C68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0E33969E-881A-4769-9142-E74C0CD9E1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F47FB28A-B65B-4DB9-BCE3-C94A60A839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C42836C9-2136-45ED-B5E1-17497917E5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E9A19751-84F5-4F77-A59F-AA2E476B14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A03C6549-65AB-4F1A-9909-6BA7832826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9EC64A00-C580-4354-97E7-C940F91A10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8EE9FF0C-17A9-47AB-9EF6-9EB9DD4649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5512583D-BF77-4FDB-9336-6268A30FDA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F4207AD2-FBF1-495C-A829-15F74BB6B5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7EC2E827-E23A-4496-9DAF-D15BA4397D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11CDDC89-382F-4D68-BF07-7F60AF1791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87BED335-18C8-4DB9-A145-26B4A9B88C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3BF41097-B6EC-41A6-B222-A333EA8A13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4A65AF66-4182-48AA-AACF-ED213EE5D0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45FEF4BF-B986-49FC-AD1F-D4801BDB5D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7AF6EFA8-FB01-486C-91B2-889052EF2E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6C92A169-6F5E-43DC-A285-4D5CC7B384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D8EE3E8A-BA1C-4893-B927-E4DB91B490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C71D5B4F-7569-4946-8C4F-507E985BF2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7A1251CA-BA1F-45C7-8692-C6478AF6E3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02A9C037-D0C7-4C58-B405-724B9D1A72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93</c:f>
              <c:numCache>
                <c:formatCode>0%;\-0%;0%</c:formatCode>
                <c:ptCount val="192"/>
                <c:pt idx="0">
                  <c:v>1.5205511183945923</c:v>
                </c:pt>
                <c:pt idx="1">
                  <c:v>1.8242651617431078</c:v>
                </c:pt>
                <c:pt idx="2">
                  <c:v>1.9446931641299241</c:v>
                </c:pt>
                <c:pt idx="3">
                  <c:v>1.3743785971181046</c:v>
                </c:pt>
                <c:pt idx="4">
                  <c:v>1.2133568327506097</c:v>
                </c:pt>
                <c:pt idx="5">
                  <c:v>0.68122302644792165</c:v>
                </c:pt>
                <c:pt idx="6">
                  <c:v>1.0735788830195876</c:v>
                </c:pt>
                <c:pt idx="7">
                  <c:v>1.0906105466517351</c:v>
                </c:pt>
                <c:pt idx="8">
                  <c:v>1.2464638055208919</c:v>
                </c:pt>
                <c:pt idx="9">
                  <c:v>2.6276289831452044</c:v>
                </c:pt>
                <c:pt idx="10">
                  <c:v>1.1064322357610548</c:v>
                </c:pt>
                <c:pt idx="11">
                  <c:v>0.85319501532146991</c:v>
                </c:pt>
                <c:pt idx="12">
                  <c:v>0.7743464365328111</c:v>
                </c:pt>
                <c:pt idx="13">
                  <c:v>1.7014605140802144</c:v>
                </c:pt>
                <c:pt idx="14">
                  <c:v>1.4722455858567116</c:v>
                </c:pt>
                <c:pt idx="15">
                  <c:v>1.2982462605289533</c:v>
                </c:pt>
                <c:pt idx="16">
                  <c:v>1.3833514134065645</c:v>
                </c:pt>
                <c:pt idx="17">
                  <c:v>0.87671584289444737</c:v>
                </c:pt>
                <c:pt idx="18">
                  <c:v>1.1442919103466598</c:v>
                </c:pt>
                <c:pt idx="19">
                  <c:v>0.79278754093426607</c:v>
                </c:pt>
                <c:pt idx="20">
                  <c:v>1.6966959176020961</c:v>
                </c:pt>
                <c:pt idx="21">
                  <c:v>1.231432894928175</c:v>
                </c:pt>
                <c:pt idx="22">
                  <c:v>1.4886670138358096</c:v>
                </c:pt>
                <c:pt idx="23">
                  <c:v>1.6014416623709915</c:v>
                </c:pt>
                <c:pt idx="24">
                  <c:v>2.0187991019872009</c:v>
                </c:pt>
                <c:pt idx="25">
                  <c:v>1.8173400102591124</c:v>
                </c:pt>
                <c:pt idx="26">
                  <c:v>2.3074631452968113</c:v>
                </c:pt>
                <c:pt idx="27">
                  <c:v>1.4051910373355561</c:v>
                </c:pt>
                <c:pt idx="28">
                  <c:v>3.2238078809443409</c:v>
                </c:pt>
                <c:pt idx="29">
                  <c:v>0.78758341953843303</c:v>
                </c:pt>
                <c:pt idx="30">
                  <c:v>0.62550976209801934</c:v>
                </c:pt>
                <c:pt idx="31">
                  <c:v>1.7096874502164956</c:v>
                </c:pt>
                <c:pt idx="32">
                  <c:v>1</c:v>
                </c:pt>
                <c:pt idx="33">
                  <c:v>2.3040084400169341</c:v>
                </c:pt>
                <c:pt idx="34">
                  <c:v>0.68754051217467449</c:v>
                </c:pt>
                <c:pt idx="35">
                  <c:v>2.6452578918511045</c:v>
                </c:pt>
                <c:pt idx="36">
                  <c:v>0.52526659449291513</c:v>
                </c:pt>
                <c:pt idx="37">
                  <c:v>0.65993703164042705</c:v>
                </c:pt>
                <c:pt idx="38">
                  <c:v>0.50485076417579766</c:v>
                </c:pt>
                <c:pt idx="39">
                  <c:v>1</c:v>
                </c:pt>
                <c:pt idx="40">
                  <c:v>1.0027843737478033</c:v>
                </c:pt>
                <c:pt idx="41">
                  <c:v>1.6500602169225536</c:v>
                </c:pt>
                <c:pt idx="42">
                  <c:v>0.98129234530269194</c:v>
                </c:pt>
                <c:pt idx="43">
                  <c:v>1.1139156627145779</c:v>
                </c:pt>
                <c:pt idx="44">
                  <c:v>1.211772687997315</c:v>
                </c:pt>
                <c:pt idx="45">
                  <c:v>0.8728761061157565</c:v>
                </c:pt>
                <c:pt idx="46">
                  <c:v>0.69652258972513958</c:v>
                </c:pt>
                <c:pt idx="47">
                  <c:v>0.66347532612180282</c:v>
                </c:pt>
                <c:pt idx="48">
                  <c:v>1.0499788078097323</c:v>
                </c:pt>
                <c:pt idx="49">
                  <c:v>0.44820220564430002</c:v>
                </c:pt>
              </c:numCache>
            </c:numRef>
          </c:xVal>
          <c:yVal>
            <c:numRef>
              <c:f>Sheet1!$B$2:$B$193</c:f>
              <c:numCache>
                <c:formatCode>0%;\-0%;0%</c:formatCode>
                <c:ptCount val="192"/>
                <c:pt idx="0">
                  <c:v>3.0852903728151539</c:v>
                </c:pt>
                <c:pt idx="1">
                  <c:v>3.3319547573296573</c:v>
                </c:pt>
                <c:pt idx="2">
                  <c:v>3.4403458842562884</c:v>
                </c:pt>
                <c:pt idx="3">
                  <c:v>1.5287924854883865</c:v>
                </c:pt>
                <c:pt idx="4">
                  <c:v>1.0281931200653487</c:v>
                </c:pt>
                <c:pt idx="5">
                  <c:v>0.80216040420533041</c:v>
                </c:pt>
                <c:pt idx="6">
                  <c:v>1.0004182203335177</c:v>
                </c:pt>
                <c:pt idx="7">
                  <c:v>0.42735580118324085</c:v>
                </c:pt>
                <c:pt idx="8">
                  <c:v>0.85158534101607519</c:v>
                </c:pt>
                <c:pt idx="9">
                  <c:v>0.98590635708915209</c:v>
                </c:pt>
                <c:pt idx="10">
                  <c:v>0.56316464505129971</c:v>
                </c:pt>
                <c:pt idx="11">
                  <c:v>0.59547063172185266</c:v>
                </c:pt>
                <c:pt idx="12">
                  <c:v>0.5666869203661371</c:v>
                </c:pt>
                <c:pt idx="13">
                  <c:v>0.50080532012183276</c:v>
                </c:pt>
                <c:pt idx="14">
                  <c:v>0.64882474401897816</c:v>
                </c:pt>
                <c:pt idx="15">
                  <c:v>0.62737513851065263</c:v>
                </c:pt>
                <c:pt idx="16">
                  <c:v>0.64468847464704893</c:v>
                </c:pt>
                <c:pt idx="17">
                  <c:v>0.54959610943104897</c:v>
                </c:pt>
                <c:pt idx="18">
                  <c:v>0.26642288750889204</c:v>
                </c:pt>
                <c:pt idx="19">
                  <c:v>9.8232312167382554E-2</c:v>
                </c:pt>
                <c:pt idx="20">
                  <c:v>0.58825737819616963</c:v>
                </c:pt>
                <c:pt idx="21">
                  <c:v>0.30530457107260101</c:v>
                </c:pt>
                <c:pt idx="22">
                  <c:v>0.29903245850592219</c:v>
                </c:pt>
                <c:pt idx="23">
                  <c:v>0.50269799152392924</c:v>
                </c:pt>
                <c:pt idx="24">
                  <c:v>0.27852463526594817</c:v>
                </c:pt>
                <c:pt idx="25">
                  <c:v>0.91021387605544057</c:v>
                </c:pt>
                <c:pt idx="26">
                  <c:v>0.44946294600052783</c:v>
                </c:pt>
                <c:pt idx="27">
                  <c:v>0.23963358203836602</c:v>
                </c:pt>
                <c:pt idx="28">
                  <c:v>0.32805851065036734</c:v>
                </c:pt>
                <c:pt idx="29">
                  <c:v>0.16125522710408016</c:v>
                </c:pt>
                <c:pt idx="30">
                  <c:v>0.2712074289350726</c:v>
                </c:pt>
                <c:pt idx="31">
                  <c:v>0.30457712372256124</c:v>
                </c:pt>
                <c:pt idx="32">
                  <c:v>0.8957411183421421</c:v>
                </c:pt>
                <c:pt idx="33">
                  <c:v>0.73658558525695261</c:v>
                </c:pt>
                <c:pt idx="34">
                  <c:v>0.28331041236079657</c:v>
                </c:pt>
                <c:pt idx="35">
                  <c:v>0.29822959771310809</c:v>
                </c:pt>
                <c:pt idx="36">
                  <c:v>0.30112180993370002</c:v>
                </c:pt>
                <c:pt idx="37">
                  <c:v>0.16279631085592983</c:v>
                </c:pt>
                <c:pt idx="38">
                  <c:v>0.18164490301460515</c:v>
                </c:pt>
                <c:pt idx="39">
                  <c:v>1.1598967694917872</c:v>
                </c:pt>
                <c:pt idx="40">
                  <c:v>0.42800851475208684</c:v>
                </c:pt>
                <c:pt idx="41">
                  <c:v>0.384857602622315</c:v>
                </c:pt>
                <c:pt idx="42">
                  <c:v>0.15585437107477212</c:v>
                </c:pt>
                <c:pt idx="43">
                  <c:v>0.34535029295477387</c:v>
                </c:pt>
                <c:pt idx="44">
                  <c:v>0.10687510530248268</c:v>
                </c:pt>
                <c:pt idx="45">
                  <c:v>0.18731455224010704</c:v>
                </c:pt>
                <c:pt idx="46">
                  <c:v>0.14349766624950283</c:v>
                </c:pt>
                <c:pt idx="47">
                  <c:v>0.18016866701039758</c:v>
                </c:pt>
                <c:pt idx="48">
                  <c:v>0.30253809162884954</c:v>
                </c:pt>
                <c:pt idx="49">
                  <c:v>0.14733777182516844</c:v>
                </c:pt>
              </c:numCache>
            </c:numRef>
          </c:yVal>
          <c:bubbleSize>
            <c:numRef>
              <c:f>Sheet1!$C$2:$C$193</c:f>
              <c:numCache>
                <c:formatCode>#,##0</c:formatCode>
                <c:ptCount val="192"/>
                <c:pt idx="0">
                  <c:v>54118301</c:v>
                </c:pt>
                <c:pt idx="1">
                  <c:v>32935073</c:v>
                </c:pt>
                <c:pt idx="2">
                  <c:v>24165302</c:v>
                </c:pt>
                <c:pt idx="3">
                  <c:v>12921557</c:v>
                </c:pt>
                <c:pt idx="4">
                  <c:v>2213063</c:v>
                </c:pt>
                <c:pt idx="5">
                  <c:v>4003471</c:v>
                </c:pt>
                <c:pt idx="6">
                  <c:v>1746436</c:v>
                </c:pt>
                <c:pt idx="7">
                  <c:v>1611725</c:v>
                </c:pt>
                <c:pt idx="8">
                  <c:v>936992</c:v>
                </c:pt>
                <c:pt idx="9">
                  <c:v>1213432</c:v>
                </c:pt>
                <c:pt idx="10">
                  <c:v>1106331</c:v>
                </c:pt>
                <c:pt idx="11">
                  <c:v>1156061</c:v>
                </c:pt>
                <c:pt idx="12">
                  <c:v>1776521</c:v>
                </c:pt>
                <c:pt idx="13">
                  <c:v>555825</c:v>
                </c:pt>
                <c:pt idx="14">
                  <c:v>441536</c:v>
                </c:pt>
                <c:pt idx="15">
                  <c:v>528501</c:v>
                </c:pt>
                <c:pt idx="16">
                  <c:v>432075</c:v>
                </c:pt>
                <c:pt idx="17">
                  <c:v>435435</c:v>
                </c:pt>
                <c:pt idx="18">
                  <c:v>433735</c:v>
                </c:pt>
                <c:pt idx="19">
                  <c:v>1448636</c:v>
                </c:pt>
                <c:pt idx="20">
                  <c:v>327005</c:v>
                </c:pt>
                <c:pt idx="21">
                  <c:v>384930</c:v>
                </c:pt>
                <c:pt idx="22">
                  <c:v>393461</c:v>
                </c:pt>
                <c:pt idx="23">
                  <c:v>148308</c:v>
                </c:pt>
                <c:pt idx="24">
                  <c:v>256628</c:v>
                </c:pt>
                <c:pt idx="25">
                  <c:v>152820</c:v>
                </c:pt>
                <c:pt idx="26">
                  <c:v>187258</c:v>
                </c:pt>
                <c:pt idx="27">
                  <c:v>272760</c:v>
                </c:pt>
                <c:pt idx="28">
                  <c:v>225000</c:v>
                </c:pt>
                <c:pt idx="29">
                  <c:v>230746</c:v>
                </c:pt>
                <c:pt idx="30">
                  <c:v>180456</c:v>
                </c:pt>
                <c:pt idx="31">
                  <c:v>116036</c:v>
                </c:pt>
                <c:pt idx="32">
                  <c:v>25925</c:v>
                </c:pt>
                <c:pt idx="33">
                  <c:v>98858</c:v>
                </c:pt>
                <c:pt idx="34">
                  <c:v>195885</c:v>
                </c:pt>
                <c:pt idx="35">
                  <c:v>98518</c:v>
                </c:pt>
                <c:pt idx="36">
                  <c:v>117104</c:v>
                </c:pt>
                <c:pt idx="37">
                  <c:v>235127</c:v>
                </c:pt>
                <c:pt idx="38">
                  <c:v>123978</c:v>
                </c:pt>
                <c:pt idx="39">
                  <c:v>15126</c:v>
                </c:pt>
                <c:pt idx="40">
                  <c:v>63236</c:v>
                </c:pt>
                <c:pt idx="41">
                  <c:v>50563</c:v>
                </c:pt>
                <c:pt idx="42">
                  <c:v>87509</c:v>
                </c:pt>
                <c:pt idx="43">
                  <c:v>41835</c:v>
                </c:pt>
                <c:pt idx="44">
                  <c:v>43864</c:v>
                </c:pt>
                <c:pt idx="45">
                  <c:v>146671</c:v>
                </c:pt>
                <c:pt idx="46">
                  <c:v>149196</c:v>
                </c:pt>
                <c:pt idx="47">
                  <c:v>44755</c:v>
                </c:pt>
                <c:pt idx="48">
                  <c:v>34853</c:v>
                </c:pt>
                <c:pt idx="49">
                  <c:v>33557</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 val="autoZero"/>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53849719672747E-4"/>
          <c:y val="6.0063696518519595E-2"/>
          <c:w val="0.95453953634144284"/>
          <c:h val="0.88878250476834464"/>
        </c:manualLayout>
      </c:layout>
      <c:barChart>
        <c:barDir val="col"/>
        <c:grouping val="percentStacked"/>
        <c:varyColors val="0"/>
        <c:ser>
          <c:idx val="1"/>
          <c:order val="1"/>
          <c:tx>
            <c:strRef>
              <c:f>Sheet1!$C$1</c:f>
              <c:strCache>
                <c:ptCount val="1"/>
                <c:pt idx="0">
                  <c:v>bar</c:v>
                </c:pt>
              </c:strCache>
            </c:strRef>
          </c:tx>
          <c:spPr>
            <a:solidFill>
              <a:schemeClr val="bg2"/>
            </a:solidFill>
            <a:ln>
              <a:noFill/>
            </a:ln>
            <a:effectLst/>
          </c:spPr>
          <c:invertIfNegative val="0"/>
          <c:dLbls>
            <c:dLbl>
              <c:idx val="0"/>
              <c:tx>
                <c:rich>
                  <a:bodyPr/>
                  <a:lstStyle/>
                  <a:p>
                    <a:fld id="{967B6CF1-5DB1-412A-8736-88E7629EA165}"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6F3F-4891-A588-66FCA4279EF0}"/>
                </c:ext>
              </c:extLst>
            </c:dLbl>
            <c:dLbl>
              <c:idx val="1"/>
              <c:tx>
                <c:rich>
                  <a:bodyPr/>
                  <a:lstStyle/>
                  <a:p>
                    <a:fld id="{399BC4F9-6234-4A9A-B918-FF65BD090611}"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F3F-4891-A588-66FCA4279EF0}"/>
                </c:ext>
              </c:extLst>
            </c:dLbl>
            <c:dLbl>
              <c:idx val="2"/>
              <c:delete val="1"/>
              <c:extLst>
                <c:ext xmlns:c15="http://schemas.microsoft.com/office/drawing/2012/chart" uri="{CE6537A1-D6FC-4f65-9D91-7224C49458BB}"/>
                <c:ext xmlns:c16="http://schemas.microsoft.com/office/drawing/2014/chart" uri="{C3380CC4-5D6E-409C-BE32-E72D297353CC}">
                  <c16:uniqueId val="{00000002-6F3F-4891-A588-66FCA4279EF0}"/>
                </c:ext>
              </c:extLst>
            </c:dLbl>
            <c:dLbl>
              <c:idx val="3"/>
              <c:tx>
                <c:rich>
                  <a:bodyPr/>
                  <a:lstStyle/>
                  <a:p>
                    <a:fld id="{8DECF103-0393-4955-A811-A708961EFC74}"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6F3F-4891-A588-66FCA4279EF0}"/>
                </c:ext>
              </c:extLst>
            </c:dLbl>
            <c:dLbl>
              <c:idx val="4"/>
              <c:tx>
                <c:rich>
                  <a:bodyPr/>
                  <a:lstStyle/>
                  <a:p>
                    <a:fld id="{1EF2B65D-9C35-4A39-A12F-2DF793A4DDD5}"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6F3F-4891-A588-66FCA4279EF0}"/>
                </c:ext>
              </c:extLst>
            </c:dLbl>
            <c:dLbl>
              <c:idx val="5"/>
              <c:tx>
                <c:rich>
                  <a:bodyPr/>
                  <a:lstStyle/>
                  <a:p>
                    <a:fld id="{DE728919-B6C0-40C5-83F2-0BD172913F18}"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F3F-4891-A588-66FCA4279EF0}"/>
                </c:ext>
              </c:extLst>
            </c:dLbl>
            <c:dLbl>
              <c:idx val="6"/>
              <c:tx>
                <c:rich>
                  <a:bodyPr/>
                  <a:lstStyle/>
                  <a:p>
                    <a:fld id="{6C422707-6F11-4A52-A48A-336C0DCD85F1}"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6F3F-4891-A588-66FCA4279EF0}"/>
                </c:ext>
              </c:extLst>
            </c:dLbl>
            <c:dLbl>
              <c:idx val="7"/>
              <c:tx>
                <c:rich>
                  <a:bodyPr/>
                  <a:lstStyle/>
                  <a:p>
                    <a:fld id="{D73DAEE6-16BC-41D2-88BB-1F934C60694E}"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6F3F-4891-A588-66FCA4279EF0}"/>
                </c:ext>
              </c:extLst>
            </c:dLbl>
            <c:dLbl>
              <c:idx val="8"/>
              <c:tx>
                <c:rich>
                  <a:bodyPr/>
                  <a:lstStyle/>
                  <a:p>
                    <a:endParaRPr lang="en-CH"/>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8-6F3F-4891-A588-66FCA4279EF0}"/>
                </c:ext>
              </c:extLst>
            </c:dLbl>
            <c:dLbl>
              <c:idx val="9"/>
              <c:tx>
                <c:rich>
                  <a:bodyPr/>
                  <a:lstStyle/>
                  <a:p>
                    <a:fld id="{3BEEA271-6D0B-4FF3-9B09-F608950F6CC3}"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6F3F-4891-A588-66FCA4279EF0}"/>
                </c:ext>
              </c:extLst>
            </c:dLbl>
            <c:dLbl>
              <c:idx val="10"/>
              <c:tx>
                <c:rich>
                  <a:bodyPr/>
                  <a:lstStyle/>
                  <a:p>
                    <a:endParaRPr lang="en-CH"/>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6F3F-4891-A588-66FCA4279EF0}"/>
                </c:ext>
              </c:extLst>
            </c:dLbl>
            <c:dLbl>
              <c:idx val="11"/>
              <c:tx>
                <c:rich>
                  <a:bodyPr/>
                  <a:lstStyle/>
                  <a:p>
                    <a:endParaRPr lang="en-CH"/>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6F3F-4891-A588-66FCA4279EF0}"/>
                </c:ext>
              </c:extLst>
            </c:dLbl>
            <c:dLbl>
              <c:idx val="12"/>
              <c:tx>
                <c:rich>
                  <a:bodyPr/>
                  <a:lstStyle/>
                  <a:p>
                    <a:fld id="{E2F92398-6D05-41BF-AE28-6C8962813A49}"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6F3F-4891-A588-66FCA4279EF0}"/>
                </c:ext>
              </c:extLst>
            </c:dLbl>
            <c:dLbl>
              <c:idx val="13"/>
              <c:tx>
                <c:rich>
                  <a:bodyPr/>
                  <a:lstStyle/>
                  <a:p>
                    <a:fld id="{F1701E34-9806-4DAD-BECC-6B77FD0D9CED}"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6F3F-4891-A588-66FCA4279EF0}"/>
                </c:ext>
              </c:extLst>
            </c:dLbl>
            <c:dLbl>
              <c:idx val="14"/>
              <c:tx>
                <c:rich>
                  <a:bodyPr/>
                  <a:lstStyle/>
                  <a:p>
                    <a:endParaRPr lang="en-CH"/>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6F3F-4891-A588-66FCA4279EF0}"/>
                </c:ext>
              </c:extLst>
            </c:dLbl>
            <c:dLbl>
              <c:idx val="15"/>
              <c:tx>
                <c:rich>
                  <a:bodyPr/>
                  <a:lstStyle/>
                  <a:p>
                    <a:fld id="{45593041-70D1-4FB6-A99C-88134C011A99}"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6F3F-4891-A588-66FCA4279EF0}"/>
                </c:ext>
              </c:extLst>
            </c:dLbl>
            <c:dLbl>
              <c:idx val="16"/>
              <c:tx>
                <c:rich>
                  <a:bodyPr/>
                  <a:lstStyle/>
                  <a:p>
                    <a:fld id="{42594CED-AD1D-42A8-AA7F-CC54A0EF9A12}"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6F3F-4891-A588-66FCA4279EF0}"/>
                </c:ext>
              </c:extLst>
            </c:dLbl>
            <c:dLbl>
              <c:idx val="17"/>
              <c:tx>
                <c:rich>
                  <a:bodyPr/>
                  <a:lstStyle/>
                  <a:p>
                    <a:endParaRPr lang="en-CH"/>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6F3F-4891-A588-66FCA4279EF0}"/>
                </c:ext>
              </c:extLst>
            </c:dLbl>
            <c:dLbl>
              <c:idx val="18"/>
              <c:tx>
                <c:rich>
                  <a:bodyPr/>
                  <a:lstStyle/>
                  <a:p>
                    <a:fld id="{94297A74-1696-4FE4-B94F-A82C38443AC6}"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6F3F-4891-A588-66FCA4279EF0}"/>
                </c:ext>
              </c:extLst>
            </c:dLbl>
            <c:dLbl>
              <c:idx val="19"/>
              <c:tx>
                <c:rich>
                  <a:bodyPr/>
                  <a:lstStyle/>
                  <a:p>
                    <a:fld id="{69D8A484-C165-4B43-BE72-9C68EC8ACFB3}"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6F3F-4891-A588-66FCA4279EF0}"/>
                </c:ext>
              </c:extLst>
            </c:dLbl>
            <c:dLbl>
              <c:idx val="20"/>
              <c:tx>
                <c:rich>
                  <a:bodyPr/>
                  <a:lstStyle/>
                  <a:p>
                    <a:fld id="{0D54EDA9-D59C-437F-8916-76D9CBCDB56A}"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6F3F-4891-A588-66FCA4279EF0}"/>
                </c:ext>
              </c:extLst>
            </c:dLbl>
            <c:dLbl>
              <c:idx val="21"/>
              <c:tx>
                <c:rich>
                  <a:bodyPr/>
                  <a:lstStyle/>
                  <a:p>
                    <a:fld id="{3697DD75-C972-4B0A-9F99-CC8908495BF0}"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6F3F-4891-A588-66FCA4279EF0}"/>
                </c:ext>
              </c:extLst>
            </c:dLbl>
            <c:dLbl>
              <c:idx val="22"/>
              <c:tx>
                <c:rich>
                  <a:bodyPr/>
                  <a:lstStyle/>
                  <a:p>
                    <a:fld id="{BF65EDA8-4464-4637-A3C0-6DA9AFA8A54C}"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6F3F-4891-A588-66FCA4279EF0}"/>
                </c:ext>
              </c:extLst>
            </c:dLbl>
            <c:dLbl>
              <c:idx val="23"/>
              <c:tx>
                <c:rich>
                  <a:bodyPr/>
                  <a:lstStyle/>
                  <a:p>
                    <a:fld id="{2F61B5E4-9FFF-4E36-976B-3A656BEFF740}"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6F3F-4891-A588-66FCA4279EF0}"/>
                </c:ext>
              </c:extLst>
            </c:dLbl>
            <c:dLbl>
              <c:idx val="24"/>
              <c:tx>
                <c:rich>
                  <a:bodyPr/>
                  <a:lstStyle/>
                  <a:p>
                    <a:endParaRPr lang="en-CH"/>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6F3F-4891-A588-66FCA4279EF0}"/>
                </c:ext>
              </c:extLst>
            </c:dLbl>
            <c:dLbl>
              <c:idx val="25"/>
              <c:tx>
                <c:rich>
                  <a:bodyPr/>
                  <a:lstStyle/>
                  <a:p>
                    <a:endParaRPr lang="en-CH"/>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6F3F-4891-A588-66FCA4279EF0}"/>
                </c:ext>
              </c:extLst>
            </c:dLbl>
            <c:dLbl>
              <c:idx val="26"/>
              <c:tx>
                <c:rich>
                  <a:bodyPr/>
                  <a:lstStyle/>
                  <a:p>
                    <a:fld id="{C8A44DE3-4539-4706-9405-53630AF4444B}"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6F3F-4891-A588-66FCA4279EF0}"/>
                </c:ext>
              </c:extLst>
            </c:dLbl>
            <c:dLbl>
              <c:idx val="27"/>
              <c:tx>
                <c:rich>
                  <a:bodyPr/>
                  <a:lstStyle/>
                  <a:p>
                    <a:endParaRPr lang="en-CH"/>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6F3F-4891-A588-66FCA4279EF0}"/>
                </c:ext>
              </c:extLst>
            </c:dLbl>
            <c:dLbl>
              <c:idx val="28"/>
              <c:tx>
                <c:rich>
                  <a:bodyPr/>
                  <a:lstStyle/>
                  <a:p>
                    <a:endParaRPr lang="en-CH"/>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6F3F-4891-A588-66FCA4279EF0}"/>
                </c:ext>
              </c:extLst>
            </c:dLbl>
            <c:dLbl>
              <c:idx val="29"/>
              <c:tx>
                <c:rich>
                  <a:bodyPr/>
                  <a:lstStyle/>
                  <a:p>
                    <a:fld id="{F31DEF77-D7C4-403B-B092-2DBA2D61A915}"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6F3F-4891-A588-66FCA4279EF0}"/>
                </c:ext>
              </c:extLst>
            </c:dLbl>
            <c:dLbl>
              <c:idx val="30"/>
              <c:tx>
                <c:rich>
                  <a:bodyPr/>
                  <a:lstStyle/>
                  <a:p>
                    <a:fld id="{1BD5A719-1ABF-4C43-8AB5-06BA3ACFD8F4}"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6F3F-4891-A588-66FCA4279EF0}"/>
                </c:ext>
              </c:extLst>
            </c:dLbl>
            <c:dLbl>
              <c:idx val="31"/>
              <c:tx>
                <c:rich>
                  <a:bodyPr/>
                  <a:lstStyle/>
                  <a:p>
                    <a:endParaRPr lang="en-CH"/>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6F3F-4891-A588-66FCA4279EF0}"/>
                </c:ext>
              </c:extLst>
            </c:dLbl>
            <c:dLbl>
              <c:idx val="32"/>
              <c:tx>
                <c:rich>
                  <a:bodyPr/>
                  <a:lstStyle/>
                  <a:p>
                    <a:endParaRPr lang="en-CH"/>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6F3F-4891-A588-66FCA4279EF0}"/>
                </c:ext>
              </c:extLst>
            </c:dLbl>
            <c:dLbl>
              <c:idx val="33"/>
              <c:tx>
                <c:rich>
                  <a:bodyPr/>
                  <a:lstStyle/>
                  <a:p>
                    <a:fld id="{0502A102-38CB-4A1A-B887-A7F16A353D0B}"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6F3F-4891-A588-66FCA4279EF0}"/>
                </c:ext>
              </c:extLst>
            </c:dLbl>
            <c:dLbl>
              <c:idx val="34"/>
              <c:tx>
                <c:rich>
                  <a:bodyPr/>
                  <a:lstStyle/>
                  <a:p>
                    <a:fld id="{26170D70-CD07-4FEB-9E41-753136A2EC5C}"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6F3F-4891-A588-66FCA4279EF0}"/>
                </c:ext>
              </c:extLst>
            </c:dLbl>
            <c:dLbl>
              <c:idx val="35"/>
              <c:tx>
                <c:rich>
                  <a:bodyPr/>
                  <a:lstStyle/>
                  <a:p>
                    <a:fld id="{ABA9444E-F611-46D2-B0AC-6CC0025248B2}"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6F3F-4891-A588-66FCA4279EF0}"/>
                </c:ext>
              </c:extLst>
            </c:dLbl>
            <c:dLbl>
              <c:idx val="36"/>
              <c:tx>
                <c:rich>
                  <a:bodyPr/>
                  <a:lstStyle/>
                  <a:p>
                    <a:fld id="{C704547F-FAF3-402E-AFA5-DE4C60D94A2D}"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6F3F-4891-A588-66FCA4279EF0}"/>
                </c:ext>
              </c:extLst>
            </c:dLbl>
            <c:dLbl>
              <c:idx val="37"/>
              <c:tx>
                <c:rich>
                  <a:bodyPr/>
                  <a:lstStyle/>
                  <a:p>
                    <a:endParaRPr lang="en-CH"/>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6F3F-4891-A588-66FCA4279EF0}"/>
                </c:ext>
              </c:extLst>
            </c:dLbl>
            <c:dLbl>
              <c:idx val="38"/>
              <c:tx>
                <c:rich>
                  <a:bodyPr/>
                  <a:lstStyle/>
                  <a:p>
                    <a:fld id="{7DEF27DA-6E04-4C89-9423-FC24D2558226}"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6F3F-4891-A588-66FCA4279EF0}"/>
                </c:ext>
              </c:extLst>
            </c:dLbl>
            <c:dLbl>
              <c:idx val="39"/>
              <c:tx>
                <c:rich>
                  <a:bodyPr/>
                  <a:lstStyle/>
                  <a:p>
                    <a:endParaRPr lang="en-CH"/>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6F3F-4891-A588-66FCA4279EF0}"/>
                </c:ext>
              </c:extLst>
            </c:dLbl>
            <c:dLbl>
              <c:idx val="40"/>
              <c:tx>
                <c:rich>
                  <a:bodyPr/>
                  <a:lstStyle/>
                  <a:p>
                    <a:fld id="{AE092296-5CA9-4DDC-B560-84251D54C7D7}"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6F3F-4891-A588-66FCA4279EF0}"/>
                </c:ext>
              </c:extLst>
            </c:dLbl>
            <c:dLbl>
              <c:idx val="41"/>
              <c:tx>
                <c:rich>
                  <a:bodyPr/>
                  <a:lstStyle/>
                  <a:p>
                    <a:fld id="{5A17155B-7A89-4A4B-BA2D-6667A087FA9C}"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6F3F-4891-A588-66FCA4279EF0}"/>
                </c:ext>
              </c:extLst>
            </c:dLbl>
            <c:dLbl>
              <c:idx val="42"/>
              <c:tx>
                <c:rich>
                  <a:bodyPr/>
                  <a:lstStyle/>
                  <a:p>
                    <a:endParaRPr lang="en-CH"/>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6F3F-4891-A588-66FCA4279EF0}"/>
                </c:ext>
              </c:extLst>
            </c:dLbl>
            <c:dLbl>
              <c:idx val="43"/>
              <c:tx>
                <c:rich>
                  <a:bodyPr/>
                  <a:lstStyle/>
                  <a:p>
                    <a:endParaRPr lang="en-CH"/>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6F3F-4891-A588-66FCA4279EF0}"/>
                </c:ext>
              </c:extLst>
            </c:dLbl>
            <c:dLbl>
              <c:idx val="44"/>
              <c:tx>
                <c:rich>
                  <a:bodyPr/>
                  <a:lstStyle/>
                  <a:p>
                    <a:fld id="{4256B729-6274-449E-9FB3-0315B6359AB5}"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6F3F-4891-A588-66FCA4279EF0}"/>
                </c:ext>
              </c:extLst>
            </c:dLbl>
            <c:dLbl>
              <c:idx val="45"/>
              <c:tx>
                <c:rich>
                  <a:bodyPr/>
                  <a:lstStyle/>
                  <a:p>
                    <a:fld id="{D274C6D3-449B-4BC9-90AD-918386C9F2CD}"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6F3F-4891-A588-66FCA4279EF0}"/>
                </c:ext>
              </c:extLst>
            </c:dLbl>
            <c:dLbl>
              <c:idx val="46"/>
              <c:tx>
                <c:rich>
                  <a:bodyPr/>
                  <a:lstStyle/>
                  <a:p>
                    <a:fld id="{E2752A65-F9A9-4392-B5EB-FFA54FF82B43}"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6F3F-4891-A588-66FCA4279EF0}"/>
                </c:ext>
              </c:extLst>
            </c:dLbl>
            <c:dLbl>
              <c:idx val="47"/>
              <c:tx>
                <c:rich>
                  <a:bodyPr/>
                  <a:lstStyle/>
                  <a:p>
                    <a:fld id="{49880F9F-FE1C-4D36-9DBE-F3D92D69EAD8}"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6F3F-4891-A588-66FCA4279EF0}"/>
                </c:ext>
              </c:extLst>
            </c:dLbl>
            <c:dLbl>
              <c:idx val="48"/>
              <c:tx>
                <c:rich>
                  <a:bodyPr/>
                  <a:lstStyle/>
                  <a:p>
                    <a:fld id="{4C3331DB-DBB2-40C8-BF63-F0516D66897C}"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6F3F-4891-A588-66FCA4279EF0}"/>
                </c:ext>
              </c:extLst>
            </c:dLbl>
            <c:dLbl>
              <c:idx val="49"/>
              <c:tx>
                <c:rich>
                  <a:bodyPr/>
                  <a:lstStyle/>
                  <a:p>
                    <a:endParaRPr lang="en-CH"/>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6F3F-4891-A588-66FCA4279EF0}"/>
                </c:ext>
              </c:extLst>
            </c:dLbl>
            <c:dLbl>
              <c:idx val="50"/>
              <c:tx>
                <c:rich>
                  <a:bodyPr/>
                  <a:lstStyle/>
                  <a:p>
                    <a:endParaRPr lang="en-CH"/>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6F3F-4891-A588-66FCA4279EF0}"/>
                </c:ext>
              </c:extLst>
            </c:dLbl>
            <c:dLbl>
              <c:idx val="51"/>
              <c:tx>
                <c:rich>
                  <a:bodyPr/>
                  <a:lstStyle/>
                  <a:p>
                    <a:fld id="{D4A0FF09-163C-4106-B629-6DACEA2C5E23}"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6F3F-4891-A588-66FCA4279EF0}"/>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C$2:$C$53</c:f>
              <c:numCache>
                <c:formatCode>0%</c:formatCode>
                <c:ptCount val="52"/>
                <c:pt idx="0">
                  <c:v>1</c:v>
                </c:pt>
                <c:pt idx="1">
                  <c:v>1</c:v>
                </c:pt>
                <c:pt idx="2">
                  <c:v>1</c:v>
                </c:pt>
                <c:pt idx="3">
                  <c:v>1</c:v>
                </c:pt>
                <c:pt idx="4">
                  <c:v>1</c:v>
                </c:pt>
                <c:pt idx="5">
                  <c:v>1</c:v>
                </c:pt>
                <c:pt idx="6">
                  <c:v>1</c:v>
                </c:pt>
                <c:pt idx="7">
                  <c:v>1</c:v>
                </c:pt>
                <c:pt idx="8">
                  <c:v>#N/A</c:v>
                </c:pt>
                <c:pt idx="9">
                  <c:v>1</c:v>
                </c:pt>
                <c:pt idx="10">
                  <c:v>#N/A</c:v>
                </c:pt>
                <c:pt idx="11">
                  <c:v>#N/A</c:v>
                </c:pt>
                <c:pt idx="12">
                  <c:v>1</c:v>
                </c:pt>
                <c:pt idx="13">
                  <c:v>1</c:v>
                </c:pt>
                <c:pt idx="14">
                  <c:v>#N/A</c:v>
                </c:pt>
                <c:pt idx="15">
                  <c:v>1</c:v>
                </c:pt>
                <c:pt idx="16">
                  <c:v>1</c:v>
                </c:pt>
                <c:pt idx="17">
                  <c:v>#N/A</c:v>
                </c:pt>
                <c:pt idx="18">
                  <c:v>1</c:v>
                </c:pt>
                <c:pt idx="19">
                  <c:v>1</c:v>
                </c:pt>
                <c:pt idx="20">
                  <c:v>1</c:v>
                </c:pt>
                <c:pt idx="21">
                  <c:v>1</c:v>
                </c:pt>
                <c:pt idx="22">
                  <c:v>1</c:v>
                </c:pt>
                <c:pt idx="23">
                  <c:v>1</c:v>
                </c:pt>
                <c:pt idx="24">
                  <c:v>#N/A</c:v>
                </c:pt>
                <c:pt idx="25">
                  <c:v>#N/A</c:v>
                </c:pt>
                <c:pt idx="26">
                  <c:v>1</c:v>
                </c:pt>
                <c:pt idx="27">
                  <c:v>#N/A</c:v>
                </c:pt>
                <c:pt idx="28">
                  <c:v>#N/A</c:v>
                </c:pt>
                <c:pt idx="29">
                  <c:v>1</c:v>
                </c:pt>
                <c:pt idx="30">
                  <c:v>1</c:v>
                </c:pt>
                <c:pt idx="31">
                  <c:v>#N/A</c:v>
                </c:pt>
                <c:pt idx="32">
                  <c:v>#N/A</c:v>
                </c:pt>
                <c:pt idx="33">
                  <c:v>1</c:v>
                </c:pt>
                <c:pt idx="34">
                  <c:v>1</c:v>
                </c:pt>
                <c:pt idx="35">
                  <c:v>1</c:v>
                </c:pt>
                <c:pt idx="36">
                  <c:v>1</c:v>
                </c:pt>
                <c:pt idx="37">
                  <c:v>#N/A</c:v>
                </c:pt>
                <c:pt idx="38">
                  <c:v>1</c:v>
                </c:pt>
                <c:pt idx="39">
                  <c:v>#N/A</c:v>
                </c:pt>
                <c:pt idx="40">
                  <c:v>1</c:v>
                </c:pt>
                <c:pt idx="41">
                  <c:v>1</c:v>
                </c:pt>
                <c:pt idx="42">
                  <c:v>#N/A</c:v>
                </c:pt>
                <c:pt idx="43">
                  <c:v>#N/A</c:v>
                </c:pt>
                <c:pt idx="44">
                  <c:v>1</c:v>
                </c:pt>
                <c:pt idx="45">
                  <c:v>1</c:v>
                </c:pt>
                <c:pt idx="46">
                  <c:v>1</c:v>
                </c:pt>
                <c:pt idx="47">
                  <c:v>1</c:v>
                </c:pt>
                <c:pt idx="48">
                  <c:v>1</c:v>
                </c:pt>
                <c:pt idx="49">
                  <c:v>#N/A</c:v>
                </c:pt>
                <c:pt idx="50">
                  <c:v>#N/A</c:v>
                </c:pt>
                <c:pt idx="51">
                  <c:v>1</c:v>
                </c:pt>
              </c:numCache>
            </c:numRef>
          </c:val>
          <c:extLst>
            <c:ext xmlns:c15="http://schemas.microsoft.com/office/drawing/2012/chart" uri="{02D57815-91ED-43cb-92C2-25804820EDAC}">
              <c15:datalabelsRange>
                <c15:f>Sheet1!$G$2:$G$53</c15:f>
                <c15:dlblRangeCache>
                  <c:ptCount val="52"/>
                  <c:pt idx="2">
                    <c:v>244%</c:v>
                  </c:pt>
                  <c:pt idx="45">
                    <c:v>209%</c:v>
                  </c:pt>
                </c15:dlblRangeCache>
              </c15:datalabelsRange>
            </c:ext>
            <c:ext xmlns:c16="http://schemas.microsoft.com/office/drawing/2014/chart" uri="{C3380CC4-5D6E-409C-BE32-E72D297353CC}">
              <c16:uniqueId val="{00000034-6F3F-4891-A588-66FCA4279EF0}"/>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bubble</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B$2:$B$53</c:f>
              <c:numCache>
                <c:formatCode>0%</c:formatCode>
                <c:ptCount val="52"/>
                <c:pt idx="0">
                  <c:v>0.83149283462587276</c:v>
                </c:pt>
                <c:pt idx="1">
                  <c:v>1.6315180743925193</c:v>
                </c:pt>
                <c:pt idx="2">
                  <c:v>2.4439356076015577</c:v>
                </c:pt>
                <c:pt idx="3">
                  <c:v>0.77292587642644184</c:v>
                </c:pt>
                <c:pt idx="4">
                  <c:v>0.74765866355299326</c:v>
                </c:pt>
                <c:pt idx="5">
                  <c:v>0.98081754103558449</c:v>
                </c:pt>
                <c:pt idx="6">
                  <c:v>0.70833026532165033</c:v>
                </c:pt>
                <c:pt idx="7">
                  <c:v>0.84407908755481287</c:v>
                </c:pt>
                <c:pt idx="8">
                  <c:v>#N/A</c:v>
                </c:pt>
                <c:pt idx="9">
                  <c:v>#N/A</c:v>
                </c:pt>
                <c:pt idx="10">
                  <c:v>#N/A</c:v>
                </c:pt>
                <c:pt idx="11">
                  <c:v>#N/A</c:v>
                </c:pt>
                <c:pt idx="12">
                  <c:v>#N/A</c:v>
                </c:pt>
                <c:pt idx="13">
                  <c:v>#N/A</c:v>
                </c:pt>
                <c:pt idx="14">
                  <c:v>#N/A</c:v>
                </c:pt>
                <c:pt idx="15">
                  <c:v>0.8725708042279976</c:v>
                </c:pt>
                <c:pt idx="16">
                  <c:v>0.4577243728236281</c:v>
                </c:pt>
                <c:pt idx="17">
                  <c:v>#N/A</c:v>
                </c:pt>
                <c:pt idx="18">
                  <c:v>0.15218560397131825</c:v>
                </c:pt>
                <c:pt idx="19">
                  <c:v>0.3636835009851706</c:v>
                </c:pt>
                <c:pt idx="20">
                  <c:v>0.23195425066291811</c:v>
                </c:pt>
                <c:pt idx="21">
                  <c:v>0.85483845584879525</c:v>
                </c:pt>
                <c:pt idx="22">
                  <c:v>0.3003459533206646</c:v>
                </c:pt>
                <c:pt idx="23">
                  <c:v>0.33698879958684352</c:v>
                </c:pt>
                <c:pt idx="24">
                  <c:v>#N/A</c:v>
                </c:pt>
                <c:pt idx="25">
                  <c:v>#N/A</c:v>
                </c:pt>
                <c:pt idx="26">
                  <c:v>0.47679126329628302</c:v>
                </c:pt>
                <c:pt idx="27">
                  <c:v>#N/A</c:v>
                </c:pt>
                <c:pt idx="28">
                  <c:v>#N/A</c:v>
                </c:pt>
                <c:pt idx="29">
                  <c:v>0.86927040954705725</c:v>
                </c:pt>
                <c:pt idx="30">
                  <c:v>7.1587946883100939E-2</c:v>
                </c:pt>
                <c:pt idx="31">
                  <c:v>#N/A</c:v>
                </c:pt>
                <c:pt idx="32">
                  <c:v>#N/A</c:v>
                </c:pt>
                <c:pt idx="33">
                  <c:v>0.91374133318774908</c:v>
                </c:pt>
                <c:pt idx="34">
                  <c:v>#N/A</c:v>
                </c:pt>
                <c:pt idx="35">
                  <c:v>#N/A</c:v>
                </c:pt>
                <c:pt idx="36">
                  <c:v>#N/A</c:v>
                </c:pt>
                <c:pt idx="37">
                  <c:v>#N/A</c:v>
                </c:pt>
                <c:pt idx="38">
                  <c:v>0.2039582880232598</c:v>
                </c:pt>
                <c:pt idx="39">
                  <c:v>#N/A</c:v>
                </c:pt>
                <c:pt idx="40">
                  <c:v>0.81834423418520841</c:v>
                </c:pt>
                <c:pt idx="41">
                  <c:v>0.24170478834974729</c:v>
                </c:pt>
                <c:pt idx="42">
                  <c:v>#N/A</c:v>
                </c:pt>
                <c:pt idx="43">
                  <c:v>#N/A</c:v>
                </c:pt>
                <c:pt idx="44">
                  <c:v>0.54761466764778022</c:v>
                </c:pt>
                <c:pt idx="45">
                  <c:v>2.0907701528318849</c:v>
                </c:pt>
                <c:pt idx="46">
                  <c:v>0.32255425519827291</c:v>
                </c:pt>
                <c:pt idx="47">
                  <c:v>0.60169518129022137</c:v>
                </c:pt>
                <c:pt idx="48">
                  <c:v>#N/A</c:v>
                </c:pt>
                <c:pt idx="49">
                  <c:v>#N/A</c:v>
                </c:pt>
                <c:pt idx="50">
                  <c:v>#N/A</c:v>
                </c:pt>
                <c:pt idx="51">
                  <c:v>0.47447486087432045</c:v>
                </c:pt>
              </c:numCache>
            </c:numRef>
          </c:val>
          <c:smooth val="0"/>
          <c:extLst>
            <c:ext xmlns:c16="http://schemas.microsoft.com/office/drawing/2014/chart" uri="{C3380CC4-5D6E-409C-BE32-E72D297353CC}">
              <c16:uniqueId val="{00000035-6F3F-4891-A588-66FCA4279EF0}"/>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c:formatCode>
                <c:ptCount val="52"/>
                <c:pt idx="0">
                  <c:v>#N/A</c:v>
                </c:pt>
                <c:pt idx="1">
                  <c:v>#N/A</c:v>
                </c:pt>
                <c:pt idx="2">
                  <c:v>1</c:v>
                </c:pt>
                <c:pt idx="3">
                  <c:v>1</c:v>
                </c:pt>
                <c:pt idx="4">
                  <c:v>1</c:v>
                </c:pt>
                <c:pt idx="5">
                  <c:v>1</c:v>
                </c:pt>
                <c:pt idx="6">
                  <c:v>1</c:v>
                </c:pt>
                <c:pt idx="7">
                  <c:v>1</c:v>
                </c:pt>
                <c:pt idx="8">
                  <c:v>1</c:v>
                </c:pt>
                <c:pt idx="9">
                  <c:v>1</c:v>
                </c:pt>
                <c:pt idx="10">
                  <c:v>1</c:v>
                </c:pt>
                <c:pt idx="11">
                  <c:v>1</c:v>
                </c:pt>
                <c:pt idx="12">
                  <c:v>1</c:v>
                </c:pt>
                <c:pt idx="13">
                  <c:v>1</c:v>
                </c:pt>
                <c:pt idx="14">
                  <c:v>1</c:v>
                </c:pt>
                <c:pt idx="15">
                  <c:v>#N/A</c:v>
                </c:pt>
                <c:pt idx="16">
                  <c:v>#N/A</c:v>
                </c:pt>
                <c:pt idx="17">
                  <c:v>#N/A</c:v>
                </c:pt>
                <c:pt idx="18">
                  <c:v>#N/A</c:v>
                </c:pt>
                <c:pt idx="19">
                  <c:v>#N/A</c:v>
                </c:pt>
                <c:pt idx="20">
                  <c:v>#N/A</c:v>
                </c:pt>
                <c:pt idx="21">
                  <c:v>#N/A</c:v>
                </c:pt>
                <c:pt idx="22">
                  <c:v>1</c:v>
                </c:pt>
                <c:pt idx="23">
                  <c:v>1</c:v>
                </c:pt>
                <c:pt idx="24">
                  <c:v>1</c:v>
                </c:pt>
                <c:pt idx="25">
                  <c:v>#N/A</c:v>
                </c:pt>
                <c:pt idx="26">
                  <c:v>#N/A</c:v>
                </c:pt>
                <c:pt idx="27">
                  <c:v>#N/A</c:v>
                </c:pt>
                <c:pt idx="28">
                  <c:v>#N/A</c:v>
                </c:pt>
                <c:pt idx="29">
                  <c:v>#N/A</c:v>
                </c:pt>
                <c:pt idx="30">
                  <c:v>#N/A</c:v>
                </c:pt>
                <c:pt idx="31">
                  <c:v>#N/A</c:v>
                </c:pt>
                <c:pt idx="32">
                  <c:v>#N/A</c:v>
                </c:pt>
                <c:pt idx="33">
                  <c:v>#N/A</c:v>
                </c:pt>
                <c:pt idx="34">
                  <c:v>1</c:v>
                </c:pt>
                <c:pt idx="35">
                  <c:v>#N/A</c:v>
                </c:pt>
                <c:pt idx="36">
                  <c:v>#N/A</c:v>
                </c:pt>
                <c:pt idx="37">
                  <c:v>#N/A</c:v>
                </c:pt>
                <c:pt idx="38">
                  <c:v>#N/A</c:v>
                </c:pt>
                <c:pt idx="39">
                  <c:v>1</c:v>
                </c:pt>
                <c:pt idx="40">
                  <c:v>1</c:v>
                </c:pt>
                <c:pt idx="41">
                  <c:v>1</c:v>
                </c:pt>
                <c:pt idx="42">
                  <c:v>1</c:v>
                </c:pt>
                <c:pt idx="43">
                  <c:v>1</c:v>
                </c:pt>
                <c:pt idx="44">
                  <c:v>#N/A</c:v>
                </c:pt>
                <c:pt idx="45">
                  <c:v>#N/A</c:v>
                </c:pt>
                <c:pt idx="46">
                  <c:v>#N/A</c:v>
                </c:pt>
                <c:pt idx="47">
                  <c:v>#N/A</c:v>
                </c:pt>
                <c:pt idx="48">
                  <c:v>#N/A</c:v>
                </c:pt>
                <c:pt idx="49">
                  <c:v>#N/A</c:v>
                </c:pt>
                <c:pt idx="50">
                  <c:v>#N/A</c:v>
                </c:pt>
                <c:pt idx="51">
                  <c:v>#N/A</c:v>
                </c:pt>
              </c:numCache>
            </c:numRef>
          </c:val>
          <c:extLst>
            <c:ext xmlns:c16="http://schemas.microsoft.com/office/drawing/2014/chart" uri="{C3380CC4-5D6E-409C-BE32-E72D297353CC}">
              <c16:uniqueId val="{00000000-3553-47F7-9D8D-B7ECA91FF30F}"/>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c:formatCode>
                <c:ptCount val="52"/>
                <c:pt idx="0">
                  <c:v>#N/A</c:v>
                </c:pt>
                <c:pt idx="1">
                  <c:v>#N/A</c:v>
                </c:pt>
                <c:pt idx="2">
                  <c:v>0.11367872175570121</c:v>
                </c:pt>
                <c:pt idx="3">
                  <c:v>0.12132533378739771</c:v>
                </c:pt>
                <c:pt idx="4">
                  <c:v>0.2148614964962611</c:v>
                </c:pt>
                <c:pt idx="5">
                  <c:v>0.17336822212530892</c:v>
                </c:pt>
                <c:pt idx="6">
                  <c:v>0.16371495760272436</c:v>
                </c:pt>
                <c:pt idx="7">
                  <c:v>0.359005905511811</c:v>
                </c:pt>
                <c:pt idx="8">
                  <c:v>0.35807339627396623</c:v>
                </c:pt>
                <c:pt idx="9">
                  <c:v>0.3262485253637436</c:v>
                </c:pt>
                <c:pt idx="10">
                  <c:v>0.18571348293560108</c:v>
                </c:pt>
                <c:pt idx="11">
                  <c:v>0.14821256608297467</c:v>
                </c:pt>
                <c:pt idx="12">
                  <c:v>0.11874984490930296</c:v>
                </c:pt>
                <c:pt idx="13">
                  <c:v>0.26535114062005177</c:v>
                </c:pt>
                <c:pt idx="14">
                  <c:v>#N/A</c:v>
                </c:pt>
                <c:pt idx="15">
                  <c:v>#N/A</c:v>
                </c:pt>
                <c:pt idx="16">
                  <c:v>#N/A</c:v>
                </c:pt>
                <c:pt idx="17">
                  <c:v>#N/A</c:v>
                </c:pt>
                <c:pt idx="18">
                  <c:v>#N/A</c:v>
                </c:pt>
                <c:pt idx="19">
                  <c:v>#N/A</c:v>
                </c:pt>
                <c:pt idx="20">
                  <c:v>#N/A</c:v>
                </c:pt>
                <c:pt idx="21">
                  <c:v>#N/A</c:v>
                </c:pt>
                <c:pt idx="22">
                  <c:v>0.40337942434339991</c:v>
                </c:pt>
                <c:pt idx="23">
                  <c:v>0.48057218130862606</c:v>
                </c:pt>
                <c:pt idx="24">
                  <c:v>8.1719681066375477E-2</c:v>
                </c:pt>
                <c:pt idx="25">
                  <c:v>#N/A</c:v>
                </c:pt>
                <c:pt idx="26">
                  <c:v>#N/A</c:v>
                </c:pt>
                <c:pt idx="27">
                  <c:v>#N/A</c:v>
                </c:pt>
                <c:pt idx="28">
                  <c:v>#N/A</c:v>
                </c:pt>
                <c:pt idx="29">
                  <c:v>#N/A</c:v>
                </c:pt>
                <c:pt idx="30">
                  <c:v>#N/A</c:v>
                </c:pt>
                <c:pt idx="31">
                  <c:v>#N/A</c:v>
                </c:pt>
                <c:pt idx="32">
                  <c:v>#N/A</c:v>
                </c:pt>
                <c:pt idx="33">
                  <c:v>#N/A</c:v>
                </c:pt>
                <c:pt idx="34">
                  <c:v>0.14244945048272512</c:v>
                </c:pt>
                <c:pt idx="35">
                  <c:v>#N/A</c:v>
                </c:pt>
                <c:pt idx="36">
                  <c:v>#N/A</c:v>
                </c:pt>
                <c:pt idx="37">
                  <c:v>#N/A</c:v>
                </c:pt>
                <c:pt idx="38">
                  <c:v>#N/A</c:v>
                </c:pt>
                <c:pt idx="39">
                  <c:v>#N/A</c:v>
                </c:pt>
                <c:pt idx="40">
                  <c:v>#N/A</c:v>
                </c:pt>
                <c:pt idx="41">
                  <c:v>0.47272657381187294</c:v>
                </c:pt>
                <c:pt idx="42">
                  <c:v>0.62001930605459321</c:v>
                </c:pt>
                <c:pt idx="43">
                  <c:v>0.40657862283907709</c:v>
                </c:pt>
                <c:pt idx="44">
                  <c:v>#N/A</c:v>
                </c:pt>
                <c:pt idx="45">
                  <c:v>#N/A</c:v>
                </c:pt>
                <c:pt idx="46">
                  <c:v>#N/A</c:v>
                </c:pt>
                <c:pt idx="47">
                  <c:v>#N/A</c:v>
                </c:pt>
                <c:pt idx="48">
                  <c:v>#N/A</c:v>
                </c:pt>
                <c:pt idx="49">
                  <c:v>#N/A</c:v>
                </c:pt>
                <c:pt idx="50">
                  <c:v>#N/A</c:v>
                </c:pt>
                <c:pt idx="51">
                  <c:v>#N/A</c:v>
                </c:pt>
              </c:numCache>
            </c:numRef>
          </c:val>
          <c:smooth val="0"/>
          <c:extLst>
            <c:ext xmlns:c16="http://schemas.microsoft.com/office/drawing/2014/chart" uri="{C3380CC4-5D6E-409C-BE32-E72D297353CC}">
              <c16:uniqueId val="{00000001-3553-47F7-9D8D-B7ECA91FF30F}"/>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DD220506-0D1A-4A78-9302-76A1F9F95FBB}"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AFCA-4943-AA4B-9818CF1C0054}"/>
                </c:ext>
              </c:extLst>
            </c:dLbl>
            <c:dLbl>
              <c:idx val="1"/>
              <c:tx>
                <c:rich>
                  <a:bodyPr/>
                  <a:lstStyle/>
                  <a:p>
                    <a:fld id="{65E73DA6-66A1-4364-8276-77A84BCA7AD6}"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FCA-4943-AA4B-9818CF1C0054}"/>
                </c:ext>
              </c:extLst>
            </c:dLbl>
            <c:dLbl>
              <c:idx val="2"/>
              <c:tx>
                <c:rich>
                  <a:bodyPr/>
                  <a:lstStyle/>
                  <a:p>
                    <a:fld id="{6D95CDE5-37C0-4DD5-9D58-3FC72C17DFBA}"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AFCA-4943-AA4B-9818CF1C0054}"/>
                </c:ext>
              </c:extLst>
            </c:dLbl>
            <c:dLbl>
              <c:idx val="3"/>
              <c:tx>
                <c:rich>
                  <a:bodyPr/>
                  <a:lstStyle/>
                  <a:p>
                    <a:fld id="{07C3902C-955C-4AB5-920A-381800404DFA}"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AFCA-4943-AA4B-9818CF1C0054}"/>
                </c:ext>
              </c:extLst>
            </c:dLbl>
            <c:dLbl>
              <c:idx val="4"/>
              <c:tx>
                <c:rich>
                  <a:bodyPr/>
                  <a:lstStyle/>
                  <a:p>
                    <a:fld id="{3CE5C44F-CCA6-4ACF-8464-26E5C1DE57A4}"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AFCA-4943-AA4B-9818CF1C0054}"/>
                </c:ext>
              </c:extLst>
            </c:dLbl>
            <c:dLbl>
              <c:idx val="5"/>
              <c:tx>
                <c:rich>
                  <a:bodyPr/>
                  <a:lstStyle/>
                  <a:p>
                    <a:fld id="{BAFCE63C-0BF2-4132-A473-325CED73362E}"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FCA-4943-AA4B-9818CF1C0054}"/>
                </c:ext>
              </c:extLst>
            </c:dLbl>
            <c:dLbl>
              <c:idx val="6"/>
              <c:tx>
                <c:rich>
                  <a:bodyPr/>
                  <a:lstStyle/>
                  <a:p>
                    <a:fld id="{872F8AC1-69A8-4E03-9583-9605B873937F}"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AFCA-4943-AA4B-9818CF1C0054}"/>
                </c:ext>
              </c:extLst>
            </c:dLbl>
            <c:dLbl>
              <c:idx val="7"/>
              <c:tx>
                <c:rich>
                  <a:bodyPr/>
                  <a:lstStyle/>
                  <a:p>
                    <a:fld id="{326B5D4C-BB4C-4D6A-B5C3-3D425F6893E9}"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AFCA-4943-AA4B-9818CF1C0054}"/>
                </c:ext>
              </c:extLst>
            </c:dLbl>
            <c:dLbl>
              <c:idx val="8"/>
              <c:tx>
                <c:rich>
                  <a:bodyPr/>
                  <a:lstStyle/>
                  <a:p>
                    <a:fld id="{BE2B5F5B-F0E3-438A-86A7-29533F92B2DA}"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AFCA-4943-AA4B-9818CF1C0054}"/>
                </c:ext>
              </c:extLst>
            </c:dLbl>
            <c:dLbl>
              <c:idx val="9"/>
              <c:tx>
                <c:rich>
                  <a:bodyPr/>
                  <a:lstStyle/>
                  <a:p>
                    <a:fld id="{306B9B93-7A1F-411E-A485-7D55EBE1CA7F}"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AFCA-4943-AA4B-9818CF1C0054}"/>
                </c:ext>
              </c:extLst>
            </c:dLbl>
            <c:dLbl>
              <c:idx val="10"/>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AFCA-4943-AA4B-9818CF1C0054}"/>
                </c:ext>
              </c:extLst>
            </c:dLbl>
            <c:dLbl>
              <c:idx val="11"/>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AFCA-4943-AA4B-9818CF1C0054}"/>
                </c:ext>
              </c:extLst>
            </c:dLbl>
            <c:dLbl>
              <c:idx val="12"/>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AFCA-4943-AA4B-9818CF1C0054}"/>
                </c:ext>
              </c:extLst>
            </c:dLbl>
            <c:dLbl>
              <c:idx val="13"/>
              <c:tx>
                <c:rich>
                  <a:bodyPr/>
                  <a:lstStyle/>
                  <a:p>
                    <a:fld id="{4207BD2D-7FE7-4F8F-9604-524E753FB429}"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AFCA-4943-AA4B-9818CF1C0054}"/>
                </c:ext>
              </c:extLst>
            </c:dLbl>
            <c:dLbl>
              <c:idx val="14"/>
              <c:tx>
                <c:rich>
                  <a:bodyPr/>
                  <a:lstStyle/>
                  <a:p>
                    <a:fld id="{E82D3FF0-3104-4205-84CD-67A9312F6418}"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AFCA-4943-AA4B-9818CF1C0054}"/>
                </c:ext>
              </c:extLst>
            </c:dLbl>
            <c:dLbl>
              <c:idx val="15"/>
              <c:tx>
                <c:rich>
                  <a:bodyPr/>
                  <a:lstStyle/>
                  <a:p>
                    <a:fld id="{DAEB4525-C6DA-4BEC-945F-08F88AB3C4C5}"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AFCA-4943-AA4B-9818CF1C0054}"/>
                </c:ext>
              </c:extLst>
            </c:dLbl>
            <c:dLbl>
              <c:idx val="16"/>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AFCA-4943-AA4B-9818CF1C0054}"/>
                </c:ext>
              </c:extLst>
            </c:dLbl>
            <c:dLbl>
              <c:idx val="17"/>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AFCA-4943-AA4B-9818CF1C0054}"/>
                </c:ext>
              </c:extLst>
            </c:dLbl>
            <c:dLbl>
              <c:idx val="18"/>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AFCA-4943-AA4B-9818CF1C0054}"/>
                </c:ext>
              </c:extLst>
            </c:dLbl>
            <c:dLbl>
              <c:idx val="19"/>
              <c:tx>
                <c:rich>
                  <a:bodyPr/>
                  <a:lstStyle/>
                  <a:p>
                    <a:fld id="{919DFA7C-C94E-43D6-9746-FAC27695BE88}"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AFCA-4943-AA4B-9818CF1C0054}"/>
                </c:ext>
              </c:extLst>
            </c:dLbl>
            <c:dLbl>
              <c:idx val="20"/>
              <c:tx>
                <c:rich>
                  <a:bodyPr/>
                  <a:lstStyle/>
                  <a:p>
                    <a:fld id="{B6D1FFA0-D4E8-4E33-8B57-EB4A68E09F70}"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AFCA-4943-AA4B-9818CF1C0054}"/>
                </c:ext>
              </c:extLst>
            </c:dLbl>
            <c:dLbl>
              <c:idx val="21"/>
              <c:tx>
                <c:rich>
                  <a:bodyPr/>
                  <a:lstStyle/>
                  <a:p>
                    <a:fld id="{5B8D42D5-1460-428E-B927-8C7FAC17C649}"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AFCA-4943-AA4B-9818CF1C0054}"/>
                </c:ext>
              </c:extLst>
            </c:dLbl>
            <c:dLbl>
              <c:idx val="22"/>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AFCA-4943-AA4B-9818CF1C0054}"/>
                </c:ext>
              </c:extLst>
            </c:dLbl>
            <c:dLbl>
              <c:idx val="23"/>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AFCA-4943-AA4B-9818CF1C0054}"/>
                </c:ext>
              </c:extLst>
            </c:dLbl>
            <c:dLbl>
              <c:idx val="24"/>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AFCA-4943-AA4B-9818CF1C0054}"/>
                </c:ext>
              </c:extLst>
            </c:dLbl>
            <c:dLbl>
              <c:idx val="25"/>
              <c:tx>
                <c:rich>
                  <a:bodyPr/>
                  <a:lstStyle/>
                  <a:p>
                    <a:fld id="{72FC8CAF-6B2E-463A-B559-610D496AFAA4}"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AFCA-4943-AA4B-9818CF1C0054}"/>
                </c:ext>
              </c:extLst>
            </c:dLbl>
            <c:dLbl>
              <c:idx val="26"/>
              <c:tx>
                <c:rich>
                  <a:bodyPr/>
                  <a:lstStyle/>
                  <a:p>
                    <a:fld id="{8565134D-FF54-4E12-9810-DADF20FD59C5}"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AFCA-4943-AA4B-9818CF1C0054}"/>
                </c:ext>
              </c:extLst>
            </c:dLbl>
            <c:dLbl>
              <c:idx val="27"/>
              <c:tx>
                <c:rich>
                  <a:bodyPr/>
                  <a:lstStyle/>
                  <a:p>
                    <a:fld id="{08DD35A5-A67A-449F-AD90-04232193CE69}"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AFCA-4943-AA4B-9818CF1C0054}"/>
                </c:ext>
              </c:extLst>
            </c:dLbl>
            <c:dLbl>
              <c:idx val="28"/>
              <c:tx>
                <c:rich>
                  <a:bodyPr/>
                  <a:lstStyle/>
                  <a:p>
                    <a:fld id="{D24D0AE9-18D1-47DD-99F6-81A30295B369}"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AFCA-4943-AA4B-9818CF1C0054}"/>
                </c:ext>
              </c:extLst>
            </c:dLbl>
            <c:dLbl>
              <c:idx val="29"/>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AFCA-4943-AA4B-9818CF1C0054}"/>
                </c:ext>
              </c:extLst>
            </c:dLbl>
            <c:dLbl>
              <c:idx val="30"/>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AFCA-4943-AA4B-9818CF1C0054}"/>
                </c:ext>
              </c:extLst>
            </c:dLbl>
            <c:dLbl>
              <c:idx val="31"/>
              <c:tx>
                <c:rich>
                  <a:bodyPr/>
                  <a:lstStyle/>
                  <a:p>
                    <a:fld id="{0E26F657-9963-4C38-9D75-AA2D48CCBB47}"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AFCA-4943-AA4B-9818CF1C0054}"/>
                </c:ext>
              </c:extLst>
            </c:dLbl>
            <c:dLbl>
              <c:idx val="32"/>
              <c:tx>
                <c:rich>
                  <a:bodyPr/>
                  <a:lstStyle/>
                  <a:p>
                    <a:fld id="{EA460E1C-D6C4-4458-83D2-3E4517867255}"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AFCA-4943-AA4B-9818CF1C0054}"/>
                </c:ext>
              </c:extLst>
            </c:dLbl>
            <c:dLbl>
              <c:idx val="33"/>
              <c:tx>
                <c:rich>
                  <a:bodyPr/>
                  <a:lstStyle/>
                  <a:p>
                    <a:fld id="{18C833FE-AEF0-411E-90E7-F08A4FBE5CDC}"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AFCA-4943-AA4B-9818CF1C0054}"/>
                </c:ext>
              </c:extLst>
            </c:dLbl>
            <c:dLbl>
              <c:idx val="34"/>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AFCA-4943-AA4B-9818CF1C0054}"/>
                </c:ext>
              </c:extLst>
            </c:dLbl>
            <c:dLbl>
              <c:idx val="35"/>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AFCA-4943-AA4B-9818CF1C0054}"/>
                </c:ext>
              </c:extLst>
            </c:dLbl>
            <c:dLbl>
              <c:idx val="36"/>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AFCA-4943-AA4B-9818CF1C0054}"/>
                </c:ext>
              </c:extLst>
            </c:dLbl>
            <c:dLbl>
              <c:idx val="37"/>
              <c:tx>
                <c:rich>
                  <a:bodyPr/>
                  <a:lstStyle/>
                  <a:p>
                    <a:fld id="{296054D8-2444-49A9-9559-2B020A98646A}"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AFCA-4943-AA4B-9818CF1C0054}"/>
                </c:ext>
              </c:extLst>
            </c:dLbl>
            <c:dLbl>
              <c:idx val="38"/>
              <c:tx>
                <c:rich>
                  <a:bodyPr/>
                  <a:lstStyle/>
                  <a:p>
                    <a:fld id="{71372713-5ACF-484F-AFD8-BD2F89B082FE}"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AFCA-4943-AA4B-9818CF1C0054}"/>
                </c:ext>
              </c:extLst>
            </c:dLbl>
            <c:dLbl>
              <c:idx val="39"/>
              <c:tx>
                <c:rich>
                  <a:bodyPr/>
                  <a:lstStyle/>
                  <a:p>
                    <a:fld id="{8DB84E53-7692-49E3-8AF0-84DC62D42F7D}"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AFCA-4943-AA4B-9818CF1C0054}"/>
                </c:ext>
              </c:extLst>
            </c:dLbl>
            <c:dLbl>
              <c:idx val="40"/>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AFCA-4943-AA4B-9818CF1C0054}"/>
                </c:ext>
              </c:extLst>
            </c:dLbl>
            <c:dLbl>
              <c:idx val="41"/>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AFCA-4943-AA4B-9818CF1C0054}"/>
                </c:ext>
              </c:extLst>
            </c:dLbl>
            <c:dLbl>
              <c:idx val="42"/>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AFCA-4943-AA4B-9818CF1C0054}"/>
                </c:ext>
              </c:extLst>
            </c:dLbl>
            <c:dLbl>
              <c:idx val="43"/>
              <c:tx>
                <c:rich>
                  <a:bodyPr/>
                  <a:lstStyle/>
                  <a:p>
                    <a:fld id="{19CF2929-09B6-4973-858B-F6B496E5F08F}"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AFCA-4943-AA4B-9818CF1C0054}"/>
                </c:ext>
              </c:extLst>
            </c:dLbl>
            <c:dLbl>
              <c:idx val="44"/>
              <c:tx>
                <c:rich>
                  <a:bodyPr/>
                  <a:lstStyle/>
                  <a:p>
                    <a:fld id="{6F553214-69C4-45B5-944F-BA90769676A2}"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AFCA-4943-AA4B-9818CF1C0054}"/>
                </c:ext>
              </c:extLst>
            </c:dLbl>
            <c:dLbl>
              <c:idx val="45"/>
              <c:tx>
                <c:rich>
                  <a:bodyPr/>
                  <a:lstStyle/>
                  <a:p>
                    <a:fld id="{F0B45B40-C898-4F7D-B19F-71D51C94A7C4}"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AFCA-4943-AA4B-9818CF1C0054}"/>
                </c:ext>
              </c:extLst>
            </c:dLbl>
            <c:dLbl>
              <c:idx val="46"/>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AFCA-4943-AA4B-9818CF1C0054}"/>
                </c:ext>
              </c:extLst>
            </c:dLbl>
            <c:dLbl>
              <c:idx val="47"/>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AFCA-4943-AA4B-9818CF1C0054}"/>
                </c:ext>
              </c:extLst>
            </c:dLbl>
            <c:dLbl>
              <c:idx val="48"/>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AFCA-4943-AA4B-9818CF1C0054}"/>
                </c:ext>
              </c:extLst>
            </c:dLbl>
            <c:dLbl>
              <c:idx val="49"/>
              <c:tx>
                <c:rich>
                  <a:bodyPr/>
                  <a:lstStyle/>
                  <a:p>
                    <a:fld id="{C5494F68-42FC-4CD1-B404-BA9EC5497A34}"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AFCA-4943-AA4B-9818CF1C0054}"/>
                </c:ext>
              </c:extLst>
            </c:dLbl>
            <c:dLbl>
              <c:idx val="50"/>
              <c:tx>
                <c:rich>
                  <a:bodyPr/>
                  <a:lstStyle/>
                  <a:p>
                    <a:fld id="{9E974BDD-6BEA-4357-BB1D-D78424F0E5C5}"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AFCA-4943-AA4B-9818CF1C0054}"/>
                </c:ext>
              </c:extLst>
            </c:dLbl>
            <c:dLbl>
              <c:idx val="51"/>
              <c:tx>
                <c:rich>
                  <a:bodyPr/>
                  <a:lstStyle/>
                  <a:p>
                    <a:fld id="{4CF4E000-CC77-4FC4-8043-640BED48F65A}"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AFCA-4943-AA4B-9818CF1C0054}"/>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AFCA-4943-AA4B-9818CF1C0054}"/>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AFCA-4943-AA4B-9818CF1C0054}"/>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53849719672747E-4"/>
          <c:y val="6.0063696518519595E-2"/>
          <c:w val="0.95453953634144284"/>
          <c:h val="0.88878250476834464"/>
        </c:manualLayout>
      </c:layout>
      <c:barChart>
        <c:barDir val="col"/>
        <c:grouping val="percentStacked"/>
        <c:varyColors val="0"/>
        <c:ser>
          <c:idx val="1"/>
          <c:order val="1"/>
          <c:tx>
            <c:strRef>
              <c:f>Sheet1!$C$1</c:f>
              <c:strCache>
                <c:ptCount val="1"/>
                <c:pt idx="0">
                  <c:v>bar</c:v>
                </c:pt>
              </c:strCache>
            </c:strRef>
          </c:tx>
          <c:spPr>
            <a:solidFill>
              <a:schemeClr val="bg2"/>
            </a:solidFill>
            <a:ln>
              <a:noFill/>
            </a:ln>
            <a:effectLst/>
          </c:spPr>
          <c:invertIfNegative val="0"/>
          <c:dLbls>
            <c:dLbl>
              <c:idx val="0"/>
              <c:tx>
                <c:rich>
                  <a:bodyPr/>
                  <a:lstStyle/>
                  <a:p>
                    <a:fld id="{A3A68A9F-7C28-4BB6-9988-0EE528E6D7F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B2C-A45E-07CB64A14B3B}"/>
                </c:ext>
              </c:extLst>
            </c:dLbl>
            <c:dLbl>
              <c:idx val="1"/>
              <c:tx>
                <c:rich>
                  <a:bodyPr/>
                  <a:lstStyle/>
                  <a:p>
                    <a:fld id="{CED767A5-88CD-4945-A59F-76A491EB02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B2C-A45E-07CB64A14B3B}"/>
                </c:ext>
              </c:extLst>
            </c:dLbl>
            <c:dLbl>
              <c:idx val="2"/>
              <c:delete val="1"/>
              <c:extLst>
                <c:ext xmlns:c15="http://schemas.microsoft.com/office/drawing/2012/chart" uri="{CE6537A1-D6FC-4f65-9D91-7224C49458BB}"/>
                <c:ext xmlns:c16="http://schemas.microsoft.com/office/drawing/2014/chart" uri="{C3380CC4-5D6E-409C-BE32-E72D297353CC}">
                  <c16:uniqueId val="{00000002-48EF-4B2C-A45E-07CB64A14B3B}"/>
                </c:ext>
              </c:extLst>
            </c:dLbl>
            <c:dLbl>
              <c:idx val="3"/>
              <c:tx>
                <c:rich>
                  <a:bodyPr/>
                  <a:lstStyle/>
                  <a:p>
                    <a:fld id="{05F70021-9E6C-4683-9BB4-9B048C24CA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B2C-A45E-07CB64A14B3B}"/>
                </c:ext>
              </c:extLst>
            </c:dLbl>
            <c:dLbl>
              <c:idx val="4"/>
              <c:tx>
                <c:rich>
                  <a:bodyPr/>
                  <a:lstStyle/>
                  <a:p>
                    <a:fld id="{9E105517-79B2-45D7-8372-E8B9510128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B2C-A45E-07CB64A14B3B}"/>
                </c:ext>
              </c:extLst>
            </c:dLbl>
            <c:dLbl>
              <c:idx val="5"/>
              <c:tx>
                <c:rich>
                  <a:bodyPr/>
                  <a:lstStyle/>
                  <a:p>
                    <a:fld id="{42AD4028-1EAD-4876-8033-861363BAF2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B2C-A45E-07CB64A14B3B}"/>
                </c:ext>
              </c:extLst>
            </c:dLbl>
            <c:dLbl>
              <c:idx val="6"/>
              <c:tx>
                <c:rich>
                  <a:bodyPr/>
                  <a:lstStyle/>
                  <a:p>
                    <a:fld id="{D90E589F-0059-4047-ADD4-A304B91DFF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B2C-A45E-07CB64A14B3B}"/>
                </c:ext>
              </c:extLst>
            </c:dLbl>
            <c:dLbl>
              <c:idx val="7"/>
              <c:tx>
                <c:rich>
                  <a:bodyPr/>
                  <a:lstStyle/>
                  <a:p>
                    <a:fld id="{7B6D24A8-D40B-4948-AA4E-68D9515912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B2C-A45E-07CB64A14B3B}"/>
                </c:ext>
              </c:extLst>
            </c:dLbl>
            <c:dLbl>
              <c:idx val="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8-48EF-4B2C-A45E-07CB64A14B3B}"/>
                </c:ext>
              </c:extLst>
            </c:dLbl>
            <c:dLbl>
              <c:idx val="9"/>
              <c:tx>
                <c:rich>
                  <a:bodyPr/>
                  <a:lstStyle/>
                  <a:p>
                    <a:fld id="{D482DBD6-824C-4080-AF42-EFB2A766AF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8EF-4B2C-A45E-07CB64A14B3B}"/>
                </c:ext>
              </c:extLst>
            </c:dLbl>
            <c:dLbl>
              <c:idx val="1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48EF-4B2C-A45E-07CB64A14B3B}"/>
                </c:ext>
              </c:extLst>
            </c:dLbl>
            <c:dLbl>
              <c:idx val="1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48EF-4B2C-A45E-07CB64A14B3B}"/>
                </c:ext>
              </c:extLst>
            </c:dLbl>
            <c:dLbl>
              <c:idx val="12"/>
              <c:tx>
                <c:rich>
                  <a:bodyPr/>
                  <a:lstStyle/>
                  <a:p>
                    <a:fld id="{E83BA165-DF78-4D9D-A41C-638B3DC8D0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8EF-4B2C-A45E-07CB64A14B3B}"/>
                </c:ext>
              </c:extLst>
            </c:dLbl>
            <c:dLbl>
              <c:idx val="13"/>
              <c:tx>
                <c:rich>
                  <a:bodyPr/>
                  <a:lstStyle/>
                  <a:p>
                    <a:fld id="{D4794505-8A33-4DDC-AFBD-5DFB490D47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8EF-4B2C-A45E-07CB64A14B3B}"/>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48EF-4B2C-A45E-07CB64A14B3B}"/>
                </c:ext>
              </c:extLst>
            </c:dLbl>
            <c:dLbl>
              <c:idx val="15"/>
              <c:tx>
                <c:rich>
                  <a:bodyPr/>
                  <a:lstStyle/>
                  <a:p>
                    <a:fld id="{B68BCC36-2D44-457D-8FA6-BCA8DC5C7F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8EF-4B2C-A45E-07CB64A14B3B}"/>
                </c:ext>
              </c:extLst>
            </c:dLbl>
            <c:dLbl>
              <c:idx val="16"/>
              <c:tx>
                <c:rich>
                  <a:bodyPr/>
                  <a:lstStyle/>
                  <a:p>
                    <a:fld id="{752196F8-4B33-46F7-B2BB-B5AB3BFC5E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8EF-4B2C-A45E-07CB64A14B3B}"/>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48EF-4B2C-A45E-07CB64A14B3B}"/>
                </c:ext>
              </c:extLst>
            </c:dLbl>
            <c:dLbl>
              <c:idx val="18"/>
              <c:tx>
                <c:rich>
                  <a:bodyPr/>
                  <a:lstStyle/>
                  <a:p>
                    <a:fld id="{2C141969-F2E2-4AB4-91A1-1EEDB38F32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8EF-4B2C-A45E-07CB64A14B3B}"/>
                </c:ext>
              </c:extLst>
            </c:dLbl>
            <c:dLbl>
              <c:idx val="19"/>
              <c:tx>
                <c:rich>
                  <a:bodyPr/>
                  <a:lstStyle/>
                  <a:p>
                    <a:fld id="{B7E8EAFF-8453-4011-B568-69BB9EB943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8EF-4B2C-A45E-07CB64A14B3B}"/>
                </c:ext>
              </c:extLst>
            </c:dLbl>
            <c:dLbl>
              <c:idx val="20"/>
              <c:tx>
                <c:rich>
                  <a:bodyPr/>
                  <a:lstStyle/>
                  <a:p>
                    <a:fld id="{BECC12F6-F302-4DFB-9500-094E3523BA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8EF-4B2C-A45E-07CB64A14B3B}"/>
                </c:ext>
              </c:extLst>
            </c:dLbl>
            <c:dLbl>
              <c:idx val="21"/>
              <c:tx>
                <c:rich>
                  <a:bodyPr/>
                  <a:lstStyle/>
                  <a:p>
                    <a:fld id="{53AC68A9-1848-4E01-A31C-2B4F7C5F3A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8EF-4B2C-A45E-07CB64A14B3B}"/>
                </c:ext>
              </c:extLst>
            </c:dLbl>
            <c:dLbl>
              <c:idx val="22"/>
              <c:tx>
                <c:rich>
                  <a:bodyPr/>
                  <a:lstStyle/>
                  <a:p>
                    <a:fld id="{81BE9CF7-8F54-44E1-858D-0B2453A2ED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8EF-4B2C-A45E-07CB64A14B3B}"/>
                </c:ext>
              </c:extLst>
            </c:dLbl>
            <c:dLbl>
              <c:idx val="23"/>
              <c:tx>
                <c:rich>
                  <a:bodyPr/>
                  <a:lstStyle/>
                  <a:p>
                    <a:fld id="{B1628792-7DDD-46E4-B164-C3F48F2F06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8EF-4B2C-A45E-07CB64A14B3B}"/>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48EF-4B2C-A45E-07CB64A14B3B}"/>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48EF-4B2C-A45E-07CB64A14B3B}"/>
                </c:ext>
              </c:extLst>
            </c:dLbl>
            <c:dLbl>
              <c:idx val="26"/>
              <c:tx>
                <c:rich>
                  <a:bodyPr/>
                  <a:lstStyle/>
                  <a:p>
                    <a:fld id="{8C877A82-5000-449E-B1D4-84241EEE5B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8EF-4B2C-A45E-07CB64A14B3B}"/>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48EF-4B2C-A45E-07CB64A14B3B}"/>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48EF-4B2C-A45E-07CB64A14B3B}"/>
                </c:ext>
              </c:extLst>
            </c:dLbl>
            <c:dLbl>
              <c:idx val="29"/>
              <c:tx>
                <c:rich>
                  <a:bodyPr/>
                  <a:lstStyle/>
                  <a:p>
                    <a:fld id="{15712006-2203-41AB-860F-A2A5BA0A11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8EF-4B2C-A45E-07CB64A14B3B}"/>
                </c:ext>
              </c:extLst>
            </c:dLbl>
            <c:dLbl>
              <c:idx val="30"/>
              <c:tx>
                <c:rich>
                  <a:bodyPr/>
                  <a:lstStyle/>
                  <a:p>
                    <a:fld id="{CF4D4D2E-4FBE-4559-8C5C-2EEE17AD28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8EF-4B2C-A45E-07CB64A14B3B}"/>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48EF-4B2C-A45E-07CB64A14B3B}"/>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48EF-4B2C-A45E-07CB64A14B3B}"/>
                </c:ext>
              </c:extLst>
            </c:dLbl>
            <c:dLbl>
              <c:idx val="33"/>
              <c:tx>
                <c:rich>
                  <a:bodyPr/>
                  <a:lstStyle/>
                  <a:p>
                    <a:fld id="{C224CC4B-4949-4101-93A7-4A4341DE7B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8EF-4B2C-A45E-07CB64A14B3B}"/>
                </c:ext>
              </c:extLst>
            </c:dLbl>
            <c:dLbl>
              <c:idx val="34"/>
              <c:tx>
                <c:rich>
                  <a:bodyPr/>
                  <a:lstStyle/>
                  <a:p>
                    <a:fld id="{A1ADFAC2-0242-4125-A08A-9284FEA398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8EF-4B2C-A45E-07CB64A14B3B}"/>
                </c:ext>
              </c:extLst>
            </c:dLbl>
            <c:dLbl>
              <c:idx val="35"/>
              <c:tx>
                <c:rich>
                  <a:bodyPr/>
                  <a:lstStyle/>
                  <a:p>
                    <a:fld id="{465BC202-B09E-4AA2-958C-50BDF2E8A1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8EF-4B2C-A45E-07CB64A14B3B}"/>
                </c:ext>
              </c:extLst>
            </c:dLbl>
            <c:dLbl>
              <c:idx val="36"/>
              <c:tx>
                <c:rich>
                  <a:bodyPr/>
                  <a:lstStyle/>
                  <a:p>
                    <a:fld id="{4C030CD7-E363-46DF-AA1B-69D1E387C7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8EF-4B2C-A45E-07CB64A14B3B}"/>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48EF-4B2C-A45E-07CB64A14B3B}"/>
                </c:ext>
              </c:extLst>
            </c:dLbl>
            <c:dLbl>
              <c:idx val="38"/>
              <c:tx>
                <c:rich>
                  <a:bodyPr/>
                  <a:lstStyle/>
                  <a:p>
                    <a:fld id="{8027556A-D2DF-4AFF-9771-5EBB827DF3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8EF-4B2C-A45E-07CB64A14B3B}"/>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48EF-4B2C-A45E-07CB64A14B3B}"/>
                </c:ext>
              </c:extLst>
            </c:dLbl>
            <c:dLbl>
              <c:idx val="40"/>
              <c:tx>
                <c:rich>
                  <a:bodyPr/>
                  <a:lstStyle/>
                  <a:p>
                    <a:fld id="{75B1373C-C464-4AE1-ADB8-AF5E65DF52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8EF-4B2C-A45E-07CB64A14B3B}"/>
                </c:ext>
              </c:extLst>
            </c:dLbl>
            <c:dLbl>
              <c:idx val="41"/>
              <c:tx>
                <c:rich>
                  <a:bodyPr/>
                  <a:lstStyle/>
                  <a:p>
                    <a:fld id="{9A29C41B-F72D-4F42-B16B-F8C501A9F7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8EF-4B2C-A45E-07CB64A14B3B}"/>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48EF-4B2C-A45E-07CB64A14B3B}"/>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48EF-4B2C-A45E-07CB64A14B3B}"/>
                </c:ext>
              </c:extLst>
            </c:dLbl>
            <c:dLbl>
              <c:idx val="44"/>
              <c:tx>
                <c:rich>
                  <a:bodyPr/>
                  <a:lstStyle/>
                  <a:p>
                    <a:fld id="{85A898E7-4C14-411E-ADCC-30D4367A4F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8EF-4B2C-A45E-07CB64A14B3B}"/>
                </c:ext>
              </c:extLst>
            </c:dLbl>
            <c:dLbl>
              <c:idx val="45"/>
              <c:tx>
                <c:rich>
                  <a:bodyPr/>
                  <a:lstStyle/>
                  <a:p>
                    <a:fld id="{2383D671-187C-4528-8C00-D3B0597457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8EF-4B2C-A45E-07CB64A14B3B}"/>
                </c:ext>
              </c:extLst>
            </c:dLbl>
            <c:dLbl>
              <c:idx val="46"/>
              <c:tx>
                <c:rich>
                  <a:bodyPr/>
                  <a:lstStyle/>
                  <a:p>
                    <a:fld id="{7B10EA96-53C4-45D8-967A-9E56888A88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48EF-4B2C-A45E-07CB64A14B3B}"/>
                </c:ext>
              </c:extLst>
            </c:dLbl>
            <c:dLbl>
              <c:idx val="47"/>
              <c:tx>
                <c:rich>
                  <a:bodyPr/>
                  <a:lstStyle/>
                  <a:p>
                    <a:fld id="{3A0E6C81-ED91-4B17-9BBD-1D0BCF9FB5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48EF-4B2C-A45E-07CB64A14B3B}"/>
                </c:ext>
              </c:extLst>
            </c:dLbl>
            <c:dLbl>
              <c:idx val="48"/>
              <c:tx>
                <c:rich>
                  <a:bodyPr/>
                  <a:lstStyle/>
                  <a:p>
                    <a:fld id="{F5B2E2D5-4171-48F8-B429-860703975E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48EF-4B2C-A45E-07CB64A14B3B}"/>
                </c:ext>
              </c:extLst>
            </c:dLbl>
            <c:dLbl>
              <c:idx val="4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48EF-4B2C-A45E-07CB64A14B3B}"/>
                </c:ext>
              </c:extLst>
            </c:dLbl>
            <c:dLbl>
              <c:idx val="5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48EF-4B2C-A45E-07CB64A14B3B}"/>
                </c:ext>
              </c:extLst>
            </c:dLbl>
            <c:dLbl>
              <c:idx val="51"/>
              <c:tx>
                <c:rich>
                  <a:bodyPr/>
                  <a:lstStyle/>
                  <a:p>
                    <a:fld id="{203458EE-5160-4101-B2AA-41C5D8D68A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48EF-4B2C-A45E-07CB64A14B3B}"/>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c:formatCode>
                <c:ptCount val="52"/>
                <c:pt idx="0">
                  <c:v>1</c:v>
                </c:pt>
                <c:pt idx="1">
                  <c:v>1</c:v>
                </c:pt>
                <c:pt idx="2">
                  <c:v>1</c:v>
                </c:pt>
                <c:pt idx="3">
                  <c:v>1</c:v>
                </c:pt>
                <c:pt idx="4">
                  <c:v>1</c:v>
                </c:pt>
                <c:pt idx="5">
                  <c:v>1</c:v>
                </c:pt>
                <c:pt idx="6">
                  <c:v>1</c:v>
                </c:pt>
                <c:pt idx="7">
                  <c:v>1</c:v>
                </c:pt>
                <c:pt idx="8">
                  <c:v>#N/A</c:v>
                </c:pt>
                <c:pt idx="9">
                  <c:v>1</c:v>
                </c:pt>
                <c:pt idx="10">
                  <c:v>#N/A</c:v>
                </c:pt>
                <c:pt idx="11">
                  <c:v>#N/A</c:v>
                </c:pt>
                <c:pt idx="12">
                  <c:v>1</c:v>
                </c:pt>
                <c:pt idx="13">
                  <c:v>1</c:v>
                </c:pt>
                <c:pt idx="14">
                  <c:v>#N/A</c:v>
                </c:pt>
                <c:pt idx="15">
                  <c:v>1</c:v>
                </c:pt>
                <c:pt idx="16">
                  <c:v>1</c:v>
                </c:pt>
                <c:pt idx="17">
                  <c:v>#N/A</c:v>
                </c:pt>
                <c:pt idx="18">
                  <c:v>1</c:v>
                </c:pt>
                <c:pt idx="19">
                  <c:v>1</c:v>
                </c:pt>
                <c:pt idx="20">
                  <c:v>1</c:v>
                </c:pt>
                <c:pt idx="21">
                  <c:v>1</c:v>
                </c:pt>
                <c:pt idx="22">
                  <c:v>1</c:v>
                </c:pt>
                <c:pt idx="23">
                  <c:v>1</c:v>
                </c:pt>
                <c:pt idx="24">
                  <c:v>#N/A</c:v>
                </c:pt>
                <c:pt idx="25">
                  <c:v>#N/A</c:v>
                </c:pt>
                <c:pt idx="26">
                  <c:v>1</c:v>
                </c:pt>
                <c:pt idx="27">
                  <c:v>#N/A</c:v>
                </c:pt>
                <c:pt idx="28">
                  <c:v>#N/A</c:v>
                </c:pt>
                <c:pt idx="29">
                  <c:v>1</c:v>
                </c:pt>
                <c:pt idx="30">
                  <c:v>1</c:v>
                </c:pt>
                <c:pt idx="31">
                  <c:v>#N/A</c:v>
                </c:pt>
                <c:pt idx="32">
                  <c:v>#N/A</c:v>
                </c:pt>
                <c:pt idx="33">
                  <c:v>1</c:v>
                </c:pt>
                <c:pt idx="34">
                  <c:v>1</c:v>
                </c:pt>
                <c:pt idx="35">
                  <c:v>1</c:v>
                </c:pt>
                <c:pt idx="36">
                  <c:v>1</c:v>
                </c:pt>
                <c:pt idx="37">
                  <c:v>#N/A</c:v>
                </c:pt>
                <c:pt idx="38">
                  <c:v>1</c:v>
                </c:pt>
                <c:pt idx="39">
                  <c:v>#N/A</c:v>
                </c:pt>
                <c:pt idx="40">
                  <c:v>1</c:v>
                </c:pt>
                <c:pt idx="41">
                  <c:v>1</c:v>
                </c:pt>
                <c:pt idx="42">
                  <c:v>#N/A</c:v>
                </c:pt>
                <c:pt idx="43">
                  <c:v>#N/A</c:v>
                </c:pt>
                <c:pt idx="44">
                  <c:v>1</c:v>
                </c:pt>
                <c:pt idx="45">
                  <c:v>1</c:v>
                </c:pt>
                <c:pt idx="46">
                  <c:v>1</c:v>
                </c:pt>
                <c:pt idx="47">
                  <c:v>1</c:v>
                </c:pt>
                <c:pt idx="48">
                  <c:v>1</c:v>
                </c:pt>
                <c:pt idx="49">
                  <c:v>#N/A</c:v>
                </c:pt>
                <c:pt idx="50">
                  <c:v>#N/A</c:v>
                </c:pt>
                <c:pt idx="51">
                  <c:v>1</c:v>
                </c:pt>
              </c:numCache>
            </c:numRef>
          </c:val>
          <c:extLst>
            <c:ext xmlns:c15="http://schemas.microsoft.com/office/drawing/2012/chart" uri="{02D57815-91ED-43cb-92C2-25804820EDAC}">
              <c15:datalabelsRange>
                <c15:f>Sheet1!$G$2:$G$53</c15:f>
                <c15:dlblRangeCache>
                  <c:ptCount val="52"/>
                  <c:pt idx="2">
                    <c:v>244%</c:v>
                  </c:pt>
                  <c:pt idx="45">
                    <c:v>209%</c:v>
                  </c:pt>
                </c15:dlblRangeCache>
              </c15:datalabelsRange>
            </c:ext>
            <c:ext xmlns:c16="http://schemas.microsoft.com/office/drawing/2014/chart" uri="{C3380CC4-5D6E-409C-BE32-E72D297353CC}">
              <c16:uniqueId val="{00000034-48EF-4B2C-A45E-07CB64A14B3B}"/>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bubble</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c:formatCode>
                <c:ptCount val="52"/>
                <c:pt idx="0">
                  <c:v>0.83149283462587276</c:v>
                </c:pt>
                <c:pt idx="1">
                  <c:v>1.6315180743925193</c:v>
                </c:pt>
                <c:pt idx="2">
                  <c:v>2.4439356076015577</c:v>
                </c:pt>
                <c:pt idx="3">
                  <c:v>0.77292587642644184</c:v>
                </c:pt>
                <c:pt idx="4">
                  <c:v>0.74765866355299326</c:v>
                </c:pt>
                <c:pt idx="5">
                  <c:v>0.98081754103558449</c:v>
                </c:pt>
                <c:pt idx="6">
                  <c:v>0.70833026532165033</c:v>
                </c:pt>
                <c:pt idx="7">
                  <c:v>0.84407908755481287</c:v>
                </c:pt>
                <c:pt idx="8">
                  <c:v>#N/A</c:v>
                </c:pt>
                <c:pt idx="9">
                  <c:v>#N/A</c:v>
                </c:pt>
                <c:pt idx="10">
                  <c:v>#N/A</c:v>
                </c:pt>
                <c:pt idx="11">
                  <c:v>#N/A</c:v>
                </c:pt>
                <c:pt idx="12">
                  <c:v>#N/A</c:v>
                </c:pt>
                <c:pt idx="13">
                  <c:v>#N/A</c:v>
                </c:pt>
                <c:pt idx="14">
                  <c:v>#N/A</c:v>
                </c:pt>
                <c:pt idx="15">
                  <c:v>0.8725708042279976</c:v>
                </c:pt>
                <c:pt idx="16">
                  <c:v>0.4577243728236281</c:v>
                </c:pt>
                <c:pt idx="17">
                  <c:v>#N/A</c:v>
                </c:pt>
                <c:pt idx="18">
                  <c:v>0.15218560397131825</c:v>
                </c:pt>
                <c:pt idx="19">
                  <c:v>0.3636835009851706</c:v>
                </c:pt>
                <c:pt idx="20">
                  <c:v>0.23195425066291811</c:v>
                </c:pt>
                <c:pt idx="21">
                  <c:v>0.85483845584879525</c:v>
                </c:pt>
                <c:pt idx="22">
                  <c:v>0.3003459533206646</c:v>
                </c:pt>
                <c:pt idx="23">
                  <c:v>0.33698879958684352</c:v>
                </c:pt>
                <c:pt idx="24">
                  <c:v>#N/A</c:v>
                </c:pt>
                <c:pt idx="25">
                  <c:v>#N/A</c:v>
                </c:pt>
                <c:pt idx="26">
                  <c:v>0.47679126329628302</c:v>
                </c:pt>
                <c:pt idx="27">
                  <c:v>#N/A</c:v>
                </c:pt>
                <c:pt idx="28">
                  <c:v>#N/A</c:v>
                </c:pt>
                <c:pt idx="29">
                  <c:v>0.86927040954705725</c:v>
                </c:pt>
                <c:pt idx="30">
                  <c:v>7.1587946883100939E-2</c:v>
                </c:pt>
                <c:pt idx="31">
                  <c:v>#N/A</c:v>
                </c:pt>
                <c:pt idx="32">
                  <c:v>#N/A</c:v>
                </c:pt>
                <c:pt idx="33">
                  <c:v>0.91374133318774908</c:v>
                </c:pt>
                <c:pt idx="34">
                  <c:v>#N/A</c:v>
                </c:pt>
                <c:pt idx="35">
                  <c:v>#N/A</c:v>
                </c:pt>
                <c:pt idx="36">
                  <c:v>#N/A</c:v>
                </c:pt>
                <c:pt idx="37">
                  <c:v>#N/A</c:v>
                </c:pt>
                <c:pt idx="38">
                  <c:v>0.2039582880232598</c:v>
                </c:pt>
                <c:pt idx="39">
                  <c:v>#N/A</c:v>
                </c:pt>
                <c:pt idx="40">
                  <c:v>0.81834423418520841</c:v>
                </c:pt>
                <c:pt idx="41">
                  <c:v>0.24170478834974729</c:v>
                </c:pt>
                <c:pt idx="42">
                  <c:v>#N/A</c:v>
                </c:pt>
                <c:pt idx="43">
                  <c:v>#N/A</c:v>
                </c:pt>
                <c:pt idx="44">
                  <c:v>0.54761466764778022</c:v>
                </c:pt>
                <c:pt idx="45">
                  <c:v>2.0907701528318849</c:v>
                </c:pt>
                <c:pt idx="46">
                  <c:v>0.32255425519827291</c:v>
                </c:pt>
                <c:pt idx="47">
                  <c:v>0.60169518129022137</c:v>
                </c:pt>
                <c:pt idx="48">
                  <c:v>#N/A</c:v>
                </c:pt>
                <c:pt idx="49">
                  <c:v>#N/A</c:v>
                </c:pt>
                <c:pt idx="50">
                  <c:v>#N/A</c:v>
                </c:pt>
                <c:pt idx="51">
                  <c:v>0.47447486087432045</c:v>
                </c:pt>
              </c:numCache>
            </c:numRef>
          </c:val>
          <c:smooth val="0"/>
          <c:extLst>
            <c:ext xmlns:c16="http://schemas.microsoft.com/office/drawing/2014/chart" uri="{C3380CC4-5D6E-409C-BE32-E72D297353CC}">
              <c16:uniqueId val="{00000035-48EF-4B2C-A45E-07CB64A14B3B}"/>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c:formatCode>
                <c:ptCount val="52"/>
                <c:pt idx="0">
                  <c:v>#N/A</c:v>
                </c:pt>
                <c:pt idx="1">
                  <c:v>#N/A</c:v>
                </c:pt>
                <c:pt idx="2">
                  <c:v>1</c:v>
                </c:pt>
                <c:pt idx="3">
                  <c:v>1</c:v>
                </c:pt>
                <c:pt idx="4">
                  <c:v>1</c:v>
                </c:pt>
                <c:pt idx="5">
                  <c:v>1</c:v>
                </c:pt>
                <c:pt idx="6">
                  <c:v>1</c:v>
                </c:pt>
                <c:pt idx="7">
                  <c:v>1</c:v>
                </c:pt>
                <c:pt idx="8">
                  <c:v>1</c:v>
                </c:pt>
                <c:pt idx="9">
                  <c:v>1</c:v>
                </c:pt>
                <c:pt idx="10">
                  <c:v>1</c:v>
                </c:pt>
                <c:pt idx="11">
                  <c:v>1</c:v>
                </c:pt>
                <c:pt idx="12">
                  <c:v>1</c:v>
                </c:pt>
                <c:pt idx="13">
                  <c:v>1</c:v>
                </c:pt>
                <c:pt idx="14">
                  <c:v>1</c:v>
                </c:pt>
                <c:pt idx="15">
                  <c:v>#N/A</c:v>
                </c:pt>
                <c:pt idx="16">
                  <c:v>#N/A</c:v>
                </c:pt>
                <c:pt idx="17">
                  <c:v>#N/A</c:v>
                </c:pt>
                <c:pt idx="18">
                  <c:v>#N/A</c:v>
                </c:pt>
                <c:pt idx="19">
                  <c:v>#N/A</c:v>
                </c:pt>
                <c:pt idx="20">
                  <c:v>#N/A</c:v>
                </c:pt>
                <c:pt idx="21">
                  <c:v>#N/A</c:v>
                </c:pt>
                <c:pt idx="22">
                  <c:v>1</c:v>
                </c:pt>
                <c:pt idx="23">
                  <c:v>1</c:v>
                </c:pt>
                <c:pt idx="24">
                  <c:v>1</c:v>
                </c:pt>
                <c:pt idx="25">
                  <c:v>#N/A</c:v>
                </c:pt>
                <c:pt idx="26">
                  <c:v>#N/A</c:v>
                </c:pt>
                <c:pt idx="27">
                  <c:v>#N/A</c:v>
                </c:pt>
                <c:pt idx="28">
                  <c:v>#N/A</c:v>
                </c:pt>
                <c:pt idx="29">
                  <c:v>#N/A</c:v>
                </c:pt>
                <c:pt idx="30">
                  <c:v>#N/A</c:v>
                </c:pt>
                <c:pt idx="31">
                  <c:v>#N/A</c:v>
                </c:pt>
                <c:pt idx="32">
                  <c:v>#N/A</c:v>
                </c:pt>
                <c:pt idx="33">
                  <c:v>#N/A</c:v>
                </c:pt>
                <c:pt idx="34">
                  <c:v>1</c:v>
                </c:pt>
                <c:pt idx="35">
                  <c:v>#N/A</c:v>
                </c:pt>
                <c:pt idx="36">
                  <c:v>#N/A</c:v>
                </c:pt>
                <c:pt idx="37">
                  <c:v>#N/A</c:v>
                </c:pt>
                <c:pt idx="38">
                  <c:v>#N/A</c:v>
                </c:pt>
                <c:pt idx="39">
                  <c:v>1</c:v>
                </c:pt>
                <c:pt idx="40">
                  <c:v>1</c:v>
                </c:pt>
                <c:pt idx="41">
                  <c:v>1</c:v>
                </c:pt>
                <c:pt idx="42">
                  <c:v>1</c:v>
                </c:pt>
                <c:pt idx="43">
                  <c:v>1</c:v>
                </c:pt>
                <c:pt idx="44">
                  <c:v>#N/A</c:v>
                </c:pt>
                <c:pt idx="45">
                  <c:v>#N/A</c:v>
                </c:pt>
                <c:pt idx="46">
                  <c:v>#N/A</c:v>
                </c:pt>
                <c:pt idx="47">
                  <c:v>#N/A</c:v>
                </c:pt>
                <c:pt idx="48">
                  <c:v>#N/A</c:v>
                </c:pt>
                <c:pt idx="49">
                  <c:v>#N/A</c:v>
                </c:pt>
                <c:pt idx="50">
                  <c:v>#N/A</c:v>
                </c:pt>
                <c:pt idx="51">
                  <c:v>#N/A</c:v>
                </c:pt>
              </c:numCache>
            </c:numRef>
          </c:val>
          <c:extLst>
            <c:ext xmlns:c16="http://schemas.microsoft.com/office/drawing/2014/chart" uri="{C3380CC4-5D6E-409C-BE32-E72D297353CC}">
              <c16:uniqueId val="{00000000-1DD4-432D-86DC-6E7EECD7DC7B}"/>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c:formatCode>
                <c:ptCount val="52"/>
                <c:pt idx="0">
                  <c:v>#N/A</c:v>
                </c:pt>
                <c:pt idx="1">
                  <c:v>#N/A</c:v>
                </c:pt>
                <c:pt idx="2">
                  <c:v>0.11367872175570121</c:v>
                </c:pt>
                <c:pt idx="3">
                  <c:v>0.12132533378739771</c:v>
                </c:pt>
                <c:pt idx="4">
                  <c:v>0.2148614964962611</c:v>
                </c:pt>
                <c:pt idx="5">
                  <c:v>0.17336822212530892</c:v>
                </c:pt>
                <c:pt idx="6">
                  <c:v>0.16371495760272436</c:v>
                </c:pt>
                <c:pt idx="7">
                  <c:v>0.359005905511811</c:v>
                </c:pt>
                <c:pt idx="8">
                  <c:v>0.35807339627396623</c:v>
                </c:pt>
                <c:pt idx="9">
                  <c:v>0.3262485253637436</c:v>
                </c:pt>
                <c:pt idx="10">
                  <c:v>0.18571348293560108</c:v>
                </c:pt>
                <c:pt idx="11">
                  <c:v>0.14821256608297467</c:v>
                </c:pt>
                <c:pt idx="12">
                  <c:v>0.11874984490930296</c:v>
                </c:pt>
                <c:pt idx="13">
                  <c:v>0.26535114062005177</c:v>
                </c:pt>
                <c:pt idx="14">
                  <c:v>#N/A</c:v>
                </c:pt>
                <c:pt idx="15">
                  <c:v>#N/A</c:v>
                </c:pt>
                <c:pt idx="16">
                  <c:v>#N/A</c:v>
                </c:pt>
                <c:pt idx="17">
                  <c:v>#N/A</c:v>
                </c:pt>
                <c:pt idx="18">
                  <c:v>#N/A</c:v>
                </c:pt>
                <c:pt idx="19">
                  <c:v>#N/A</c:v>
                </c:pt>
                <c:pt idx="20">
                  <c:v>#N/A</c:v>
                </c:pt>
                <c:pt idx="21">
                  <c:v>#N/A</c:v>
                </c:pt>
                <c:pt idx="22">
                  <c:v>0.40337942434339991</c:v>
                </c:pt>
                <c:pt idx="23">
                  <c:v>0.48057218130862606</c:v>
                </c:pt>
                <c:pt idx="24">
                  <c:v>8.1719681066375477E-2</c:v>
                </c:pt>
                <c:pt idx="25">
                  <c:v>#N/A</c:v>
                </c:pt>
                <c:pt idx="26">
                  <c:v>#N/A</c:v>
                </c:pt>
                <c:pt idx="27">
                  <c:v>#N/A</c:v>
                </c:pt>
                <c:pt idx="28">
                  <c:v>#N/A</c:v>
                </c:pt>
                <c:pt idx="29">
                  <c:v>#N/A</c:v>
                </c:pt>
                <c:pt idx="30">
                  <c:v>#N/A</c:v>
                </c:pt>
                <c:pt idx="31">
                  <c:v>#N/A</c:v>
                </c:pt>
                <c:pt idx="32">
                  <c:v>#N/A</c:v>
                </c:pt>
                <c:pt idx="33">
                  <c:v>#N/A</c:v>
                </c:pt>
                <c:pt idx="34">
                  <c:v>0.14244945048272512</c:v>
                </c:pt>
                <c:pt idx="35">
                  <c:v>#N/A</c:v>
                </c:pt>
                <c:pt idx="36">
                  <c:v>#N/A</c:v>
                </c:pt>
                <c:pt idx="37">
                  <c:v>#N/A</c:v>
                </c:pt>
                <c:pt idx="38">
                  <c:v>#N/A</c:v>
                </c:pt>
                <c:pt idx="39">
                  <c:v>#N/A</c:v>
                </c:pt>
                <c:pt idx="40">
                  <c:v>#N/A</c:v>
                </c:pt>
                <c:pt idx="41">
                  <c:v>0.47272657381187294</c:v>
                </c:pt>
                <c:pt idx="42">
                  <c:v>0.62001930605459321</c:v>
                </c:pt>
                <c:pt idx="43">
                  <c:v>0.40657862283907709</c:v>
                </c:pt>
                <c:pt idx="44">
                  <c:v>#N/A</c:v>
                </c:pt>
                <c:pt idx="45">
                  <c:v>#N/A</c:v>
                </c:pt>
                <c:pt idx="46">
                  <c:v>#N/A</c:v>
                </c:pt>
                <c:pt idx="47">
                  <c:v>#N/A</c:v>
                </c:pt>
                <c:pt idx="48">
                  <c:v>#N/A</c:v>
                </c:pt>
                <c:pt idx="49">
                  <c:v>#N/A</c:v>
                </c:pt>
                <c:pt idx="50">
                  <c:v>#N/A</c:v>
                </c:pt>
                <c:pt idx="51">
                  <c:v>#N/A</c:v>
                </c:pt>
              </c:numCache>
            </c:numRef>
          </c:val>
          <c:smooth val="0"/>
          <c:extLst>
            <c:ext xmlns:c16="http://schemas.microsoft.com/office/drawing/2014/chart" uri="{C3380CC4-5D6E-409C-BE32-E72D297353CC}">
              <c16:uniqueId val="{00000001-1DD4-432D-86DC-6E7EECD7DC7B}"/>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c:formatCode>
                <c:ptCount val="52"/>
                <c:pt idx="0">
                  <c:v>#N/A</c:v>
                </c:pt>
                <c:pt idx="1">
                  <c:v>#N/A</c:v>
                </c:pt>
                <c:pt idx="2">
                  <c:v>1</c:v>
                </c:pt>
                <c:pt idx="3">
                  <c:v>1</c:v>
                </c:pt>
                <c:pt idx="4">
                  <c:v>1</c:v>
                </c:pt>
                <c:pt idx="5">
                  <c:v>1</c:v>
                </c:pt>
                <c:pt idx="6">
                  <c:v>1</c:v>
                </c:pt>
                <c:pt idx="7">
                  <c:v>1</c:v>
                </c:pt>
                <c:pt idx="8">
                  <c:v>1</c:v>
                </c:pt>
                <c:pt idx="9">
                  <c:v>1</c:v>
                </c:pt>
                <c:pt idx="10">
                  <c:v>1</c:v>
                </c:pt>
                <c:pt idx="11">
                  <c:v>1</c:v>
                </c:pt>
                <c:pt idx="12">
                  <c:v>1</c:v>
                </c:pt>
                <c:pt idx="13">
                  <c:v>1</c:v>
                </c:pt>
                <c:pt idx="14">
                  <c:v>1</c:v>
                </c:pt>
                <c:pt idx="15">
                  <c:v>#N/A</c:v>
                </c:pt>
                <c:pt idx="16">
                  <c:v>#N/A</c:v>
                </c:pt>
                <c:pt idx="17">
                  <c:v>#N/A</c:v>
                </c:pt>
                <c:pt idx="18">
                  <c:v>#N/A</c:v>
                </c:pt>
                <c:pt idx="19">
                  <c:v>#N/A</c:v>
                </c:pt>
                <c:pt idx="20">
                  <c:v>#N/A</c:v>
                </c:pt>
                <c:pt idx="21">
                  <c:v>#N/A</c:v>
                </c:pt>
                <c:pt idx="22">
                  <c:v>1</c:v>
                </c:pt>
                <c:pt idx="23">
                  <c:v>1</c:v>
                </c:pt>
                <c:pt idx="24">
                  <c:v>1</c:v>
                </c:pt>
                <c:pt idx="25">
                  <c:v>#N/A</c:v>
                </c:pt>
                <c:pt idx="26">
                  <c:v>#N/A</c:v>
                </c:pt>
                <c:pt idx="27">
                  <c:v>#N/A</c:v>
                </c:pt>
                <c:pt idx="28">
                  <c:v>#N/A</c:v>
                </c:pt>
                <c:pt idx="29">
                  <c:v>#N/A</c:v>
                </c:pt>
                <c:pt idx="30">
                  <c:v>#N/A</c:v>
                </c:pt>
                <c:pt idx="31">
                  <c:v>#N/A</c:v>
                </c:pt>
                <c:pt idx="32">
                  <c:v>#N/A</c:v>
                </c:pt>
                <c:pt idx="33">
                  <c:v>#N/A</c:v>
                </c:pt>
                <c:pt idx="34">
                  <c:v>1</c:v>
                </c:pt>
                <c:pt idx="35">
                  <c:v>#N/A</c:v>
                </c:pt>
                <c:pt idx="36">
                  <c:v>#N/A</c:v>
                </c:pt>
                <c:pt idx="37">
                  <c:v>#N/A</c:v>
                </c:pt>
                <c:pt idx="38">
                  <c:v>#N/A</c:v>
                </c:pt>
                <c:pt idx="39">
                  <c:v>1</c:v>
                </c:pt>
                <c:pt idx="40">
                  <c:v>1</c:v>
                </c:pt>
                <c:pt idx="41">
                  <c:v>1</c:v>
                </c:pt>
                <c:pt idx="42">
                  <c:v>1</c:v>
                </c:pt>
                <c:pt idx="43">
                  <c:v>1</c:v>
                </c:pt>
                <c:pt idx="44">
                  <c:v>#N/A</c:v>
                </c:pt>
                <c:pt idx="45">
                  <c:v>#N/A</c:v>
                </c:pt>
                <c:pt idx="46">
                  <c:v>#N/A</c:v>
                </c:pt>
                <c:pt idx="47">
                  <c:v>#N/A</c:v>
                </c:pt>
                <c:pt idx="48">
                  <c:v>#N/A</c:v>
                </c:pt>
                <c:pt idx="49">
                  <c:v>#N/A</c:v>
                </c:pt>
                <c:pt idx="50">
                  <c:v>#N/A</c:v>
                </c:pt>
                <c:pt idx="51">
                  <c:v>#N/A</c:v>
                </c:pt>
              </c:numCache>
            </c:numRef>
          </c:val>
          <c:extLst>
            <c:ext xmlns:c16="http://schemas.microsoft.com/office/drawing/2014/chart" uri="{C3380CC4-5D6E-409C-BE32-E72D297353CC}">
              <c16:uniqueId val="{00000000-7281-4004-839E-EC8ADA9B4F03}"/>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c:formatCode>
                <c:ptCount val="52"/>
                <c:pt idx="0">
                  <c:v>#N/A</c:v>
                </c:pt>
                <c:pt idx="1">
                  <c:v>#N/A</c:v>
                </c:pt>
                <c:pt idx="2">
                  <c:v>0.11367872175570121</c:v>
                </c:pt>
                <c:pt idx="3">
                  <c:v>0.12132533378739771</c:v>
                </c:pt>
                <c:pt idx="4">
                  <c:v>0.2148614964962611</c:v>
                </c:pt>
                <c:pt idx="5">
                  <c:v>0.17336822212530892</c:v>
                </c:pt>
                <c:pt idx="6">
                  <c:v>0.16371495760272436</c:v>
                </c:pt>
                <c:pt idx="7">
                  <c:v>0.359005905511811</c:v>
                </c:pt>
                <c:pt idx="8">
                  <c:v>0.35807339627396623</c:v>
                </c:pt>
                <c:pt idx="9">
                  <c:v>0.3262485253637436</c:v>
                </c:pt>
                <c:pt idx="10">
                  <c:v>0.18571348293560108</c:v>
                </c:pt>
                <c:pt idx="11">
                  <c:v>0.14821256608297467</c:v>
                </c:pt>
                <c:pt idx="12">
                  <c:v>0.11874984490930296</c:v>
                </c:pt>
                <c:pt idx="13">
                  <c:v>0.26535114062005177</c:v>
                </c:pt>
                <c:pt idx="14">
                  <c:v>#N/A</c:v>
                </c:pt>
                <c:pt idx="15">
                  <c:v>#N/A</c:v>
                </c:pt>
                <c:pt idx="16">
                  <c:v>#N/A</c:v>
                </c:pt>
                <c:pt idx="17">
                  <c:v>#N/A</c:v>
                </c:pt>
                <c:pt idx="18">
                  <c:v>#N/A</c:v>
                </c:pt>
                <c:pt idx="19">
                  <c:v>#N/A</c:v>
                </c:pt>
                <c:pt idx="20">
                  <c:v>#N/A</c:v>
                </c:pt>
                <c:pt idx="21">
                  <c:v>#N/A</c:v>
                </c:pt>
                <c:pt idx="22">
                  <c:v>0.40337942434339991</c:v>
                </c:pt>
                <c:pt idx="23">
                  <c:v>0.48057218130862606</c:v>
                </c:pt>
                <c:pt idx="24">
                  <c:v>8.1719681066375477E-2</c:v>
                </c:pt>
                <c:pt idx="25">
                  <c:v>#N/A</c:v>
                </c:pt>
                <c:pt idx="26">
                  <c:v>#N/A</c:v>
                </c:pt>
                <c:pt idx="27">
                  <c:v>#N/A</c:v>
                </c:pt>
                <c:pt idx="28">
                  <c:v>#N/A</c:v>
                </c:pt>
                <c:pt idx="29">
                  <c:v>#N/A</c:v>
                </c:pt>
                <c:pt idx="30">
                  <c:v>#N/A</c:v>
                </c:pt>
                <c:pt idx="31">
                  <c:v>#N/A</c:v>
                </c:pt>
                <c:pt idx="32">
                  <c:v>#N/A</c:v>
                </c:pt>
                <c:pt idx="33">
                  <c:v>#N/A</c:v>
                </c:pt>
                <c:pt idx="34">
                  <c:v>0.14244945048272512</c:v>
                </c:pt>
                <c:pt idx="35">
                  <c:v>#N/A</c:v>
                </c:pt>
                <c:pt idx="36">
                  <c:v>#N/A</c:v>
                </c:pt>
                <c:pt idx="37">
                  <c:v>#N/A</c:v>
                </c:pt>
                <c:pt idx="38">
                  <c:v>#N/A</c:v>
                </c:pt>
                <c:pt idx="39">
                  <c:v>#N/A</c:v>
                </c:pt>
                <c:pt idx="40">
                  <c:v>#N/A</c:v>
                </c:pt>
                <c:pt idx="41">
                  <c:v>0.47272657381187294</c:v>
                </c:pt>
                <c:pt idx="42">
                  <c:v>0.62001930605459321</c:v>
                </c:pt>
                <c:pt idx="43">
                  <c:v>0.40657862283907709</c:v>
                </c:pt>
                <c:pt idx="44">
                  <c:v>#N/A</c:v>
                </c:pt>
                <c:pt idx="45">
                  <c:v>#N/A</c:v>
                </c:pt>
                <c:pt idx="46">
                  <c:v>#N/A</c:v>
                </c:pt>
                <c:pt idx="47">
                  <c:v>#N/A</c:v>
                </c:pt>
                <c:pt idx="48">
                  <c:v>#N/A</c:v>
                </c:pt>
                <c:pt idx="49">
                  <c:v>#N/A</c:v>
                </c:pt>
                <c:pt idx="50">
                  <c:v>#N/A</c:v>
                </c:pt>
                <c:pt idx="51">
                  <c:v>#N/A</c:v>
                </c:pt>
              </c:numCache>
            </c:numRef>
          </c:val>
          <c:smooth val="0"/>
          <c:extLst>
            <c:ext xmlns:c16="http://schemas.microsoft.com/office/drawing/2014/chart" uri="{C3380CC4-5D6E-409C-BE32-E72D297353CC}">
              <c16:uniqueId val="{00000001-7281-4004-839E-EC8ADA9B4F03}"/>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44275310024208181"/>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B1A92717-376E-4221-98DC-42C150169BAE}"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1522-4FFF-9E56-9731F6C7602B}"/>
                </c:ext>
              </c:extLst>
            </c:dLbl>
            <c:dLbl>
              <c:idx val="1"/>
              <c:tx>
                <c:rich>
                  <a:bodyPr/>
                  <a:lstStyle/>
                  <a:p>
                    <a:fld id="{8ADCAA87-D8E4-4579-8099-BFC7B8811B1B}"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522-4FFF-9E56-9731F6C7602B}"/>
                </c:ext>
              </c:extLst>
            </c:dLbl>
            <c:dLbl>
              <c:idx val="2"/>
              <c:tx>
                <c:rich>
                  <a:bodyPr/>
                  <a:lstStyle/>
                  <a:p>
                    <a:fld id="{64F29349-E80A-4A7D-86E2-8BD3BC03ECBF}"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522-4FFF-9E56-9731F6C7602B}"/>
                </c:ext>
              </c:extLst>
            </c:dLbl>
            <c:dLbl>
              <c:idx val="3"/>
              <c:tx>
                <c:rich>
                  <a:bodyPr/>
                  <a:lstStyle/>
                  <a:p>
                    <a:fld id="{1522639E-9342-4CD3-9370-3F2831613FCB}"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522-4FFF-9E56-9731F6C7602B}"/>
                </c:ext>
              </c:extLst>
            </c:dLbl>
            <c:dLbl>
              <c:idx val="4"/>
              <c:tx>
                <c:rich>
                  <a:bodyPr/>
                  <a:lstStyle/>
                  <a:p>
                    <a:fld id="{A96188F0-F946-4014-A0BF-D7898E08030D}"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522-4FFF-9E56-9731F6C7602B}"/>
                </c:ext>
              </c:extLst>
            </c:dLbl>
            <c:dLbl>
              <c:idx val="5"/>
              <c:tx>
                <c:rich>
                  <a:bodyPr/>
                  <a:lstStyle/>
                  <a:p>
                    <a:fld id="{6F429F37-0284-42D3-A18D-7E95C102D113}"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522-4FFF-9E56-9731F6C7602B}"/>
                </c:ext>
              </c:extLst>
            </c:dLbl>
            <c:dLbl>
              <c:idx val="6"/>
              <c:tx>
                <c:rich>
                  <a:bodyPr/>
                  <a:lstStyle/>
                  <a:p>
                    <a:fld id="{79DA2096-6FEB-45D5-A3F7-117E017A3DFA}"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522-4FFF-9E56-9731F6C7602B}"/>
                </c:ext>
              </c:extLst>
            </c:dLbl>
            <c:dLbl>
              <c:idx val="7"/>
              <c:tx>
                <c:rich>
                  <a:bodyPr/>
                  <a:lstStyle/>
                  <a:p>
                    <a:fld id="{F2591431-B927-48F9-B798-2C46D7614AB7}"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1522-4FFF-9E56-9731F6C7602B}"/>
                </c:ext>
              </c:extLst>
            </c:dLbl>
            <c:dLbl>
              <c:idx val="8"/>
              <c:tx>
                <c:rich>
                  <a:bodyPr/>
                  <a:lstStyle/>
                  <a:p>
                    <a:fld id="{4154A7F0-E89C-42F2-A7BB-F0AC2569C9C9}"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1522-4FFF-9E56-9731F6C7602B}"/>
                </c:ext>
              </c:extLst>
            </c:dLbl>
            <c:dLbl>
              <c:idx val="9"/>
              <c:tx>
                <c:rich>
                  <a:bodyPr/>
                  <a:lstStyle/>
                  <a:p>
                    <a:fld id="{FFF4B1A8-2AEF-4BA1-B767-ED6A684889F8}"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1522-4FFF-9E56-9731F6C7602B}"/>
                </c:ext>
              </c:extLst>
            </c:dLbl>
            <c:dLbl>
              <c:idx val="10"/>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1522-4FFF-9E56-9731F6C7602B}"/>
                </c:ext>
              </c:extLst>
            </c:dLbl>
            <c:dLbl>
              <c:idx val="11"/>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1522-4FFF-9E56-9731F6C7602B}"/>
                </c:ext>
              </c:extLst>
            </c:dLbl>
            <c:dLbl>
              <c:idx val="12"/>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1522-4FFF-9E56-9731F6C7602B}"/>
                </c:ext>
              </c:extLst>
            </c:dLbl>
            <c:dLbl>
              <c:idx val="13"/>
              <c:tx>
                <c:rich>
                  <a:bodyPr/>
                  <a:lstStyle/>
                  <a:p>
                    <a:fld id="{143F5E41-FF35-4CDD-9EAB-0BAA253301F5}"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1522-4FFF-9E56-9731F6C7602B}"/>
                </c:ext>
              </c:extLst>
            </c:dLbl>
            <c:dLbl>
              <c:idx val="14"/>
              <c:tx>
                <c:rich>
                  <a:bodyPr/>
                  <a:lstStyle/>
                  <a:p>
                    <a:fld id="{A3700339-DBEC-43EC-9820-F102B4C51B85}"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1522-4FFF-9E56-9731F6C7602B}"/>
                </c:ext>
              </c:extLst>
            </c:dLbl>
            <c:dLbl>
              <c:idx val="15"/>
              <c:tx>
                <c:rich>
                  <a:bodyPr/>
                  <a:lstStyle/>
                  <a:p>
                    <a:fld id="{C35C6040-F0A6-4308-A8B0-23EF9AED6CB4}"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1522-4FFF-9E56-9731F6C7602B}"/>
                </c:ext>
              </c:extLst>
            </c:dLbl>
            <c:dLbl>
              <c:idx val="16"/>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1522-4FFF-9E56-9731F6C7602B}"/>
                </c:ext>
              </c:extLst>
            </c:dLbl>
            <c:dLbl>
              <c:idx val="17"/>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1522-4FFF-9E56-9731F6C7602B}"/>
                </c:ext>
              </c:extLst>
            </c:dLbl>
            <c:dLbl>
              <c:idx val="18"/>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1522-4FFF-9E56-9731F6C7602B}"/>
                </c:ext>
              </c:extLst>
            </c:dLbl>
            <c:dLbl>
              <c:idx val="19"/>
              <c:tx>
                <c:rich>
                  <a:bodyPr/>
                  <a:lstStyle/>
                  <a:p>
                    <a:fld id="{63445090-0BBC-4382-A59D-005C04D8AC83}"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1522-4FFF-9E56-9731F6C7602B}"/>
                </c:ext>
              </c:extLst>
            </c:dLbl>
            <c:dLbl>
              <c:idx val="20"/>
              <c:tx>
                <c:rich>
                  <a:bodyPr/>
                  <a:lstStyle/>
                  <a:p>
                    <a:fld id="{8A7AE440-524E-4E9A-8598-98A32732BE3C}"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1522-4FFF-9E56-9731F6C7602B}"/>
                </c:ext>
              </c:extLst>
            </c:dLbl>
            <c:dLbl>
              <c:idx val="21"/>
              <c:tx>
                <c:rich>
                  <a:bodyPr/>
                  <a:lstStyle/>
                  <a:p>
                    <a:fld id="{D368A57A-3A88-4F95-9E76-5C6AF3BFCA28}"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1522-4FFF-9E56-9731F6C7602B}"/>
                </c:ext>
              </c:extLst>
            </c:dLbl>
            <c:dLbl>
              <c:idx val="22"/>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1522-4FFF-9E56-9731F6C7602B}"/>
                </c:ext>
              </c:extLst>
            </c:dLbl>
            <c:dLbl>
              <c:idx val="23"/>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1522-4FFF-9E56-9731F6C7602B}"/>
                </c:ext>
              </c:extLst>
            </c:dLbl>
            <c:dLbl>
              <c:idx val="24"/>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1522-4FFF-9E56-9731F6C7602B}"/>
                </c:ext>
              </c:extLst>
            </c:dLbl>
            <c:dLbl>
              <c:idx val="25"/>
              <c:tx>
                <c:rich>
                  <a:bodyPr/>
                  <a:lstStyle/>
                  <a:p>
                    <a:fld id="{A82B6725-2D58-478B-8544-807B8DDF0CF2}"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1522-4FFF-9E56-9731F6C7602B}"/>
                </c:ext>
              </c:extLst>
            </c:dLbl>
            <c:dLbl>
              <c:idx val="26"/>
              <c:tx>
                <c:rich>
                  <a:bodyPr/>
                  <a:lstStyle/>
                  <a:p>
                    <a:fld id="{8847CA6F-9362-42B3-9D7F-FCB59A8057D5}"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1522-4FFF-9E56-9731F6C7602B}"/>
                </c:ext>
              </c:extLst>
            </c:dLbl>
            <c:dLbl>
              <c:idx val="27"/>
              <c:tx>
                <c:rich>
                  <a:bodyPr/>
                  <a:lstStyle/>
                  <a:p>
                    <a:fld id="{97BA6DFC-D78C-4FDC-A2D5-4C12900341DC}"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1522-4FFF-9E56-9731F6C7602B}"/>
                </c:ext>
              </c:extLst>
            </c:dLbl>
            <c:dLbl>
              <c:idx val="28"/>
              <c:tx>
                <c:rich>
                  <a:bodyPr/>
                  <a:lstStyle/>
                  <a:p>
                    <a:fld id="{A1464C13-C4C8-4A02-B244-9B323912D280}"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1522-4FFF-9E56-9731F6C7602B}"/>
                </c:ext>
              </c:extLst>
            </c:dLbl>
            <c:dLbl>
              <c:idx val="29"/>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1522-4FFF-9E56-9731F6C7602B}"/>
                </c:ext>
              </c:extLst>
            </c:dLbl>
            <c:dLbl>
              <c:idx val="30"/>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1522-4FFF-9E56-9731F6C7602B}"/>
                </c:ext>
              </c:extLst>
            </c:dLbl>
            <c:dLbl>
              <c:idx val="31"/>
              <c:tx>
                <c:rich>
                  <a:bodyPr/>
                  <a:lstStyle/>
                  <a:p>
                    <a:fld id="{FC25C55E-AF7A-4DFA-A60E-D1E67E4A8231}"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1522-4FFF-9E56-9731F6C7602B}"/>
                </c:ext>
              </c:extLst>
            </c:dLbl>
            <c:dLbl>
              <c:idx val="32"/>
              <c:tx>
                <c:rich>
                  <a:bodyPr/>
                  <a:lstStyle/>
                  <a:p>
                    <a:fld id="{B4C9CD2B-60E0-4713-83CF-460560CB890D}"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1522-4FFF-9E56-9731F6C7602B}"/>
                </c:ext>
              </c:extLst>
            </c:dLbl>
            <c:dLbl>
              <c:idx val="33"/>
              <c:tx>
                <c:rich>
                  <a:bodyPr/>
                  <a:lstStyle/>
                  <a:p>
                    <a:fld id="{54D1740B-405E-4D99-B18C-95735251C92C}"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1522-4FFF-9E56-9731F6C7602B}"/>
                </c:ext>
              </c:extLst>
            </c:dLbl>
            <c:dLbl>
              <c:idx val="34"/>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1522-4FFF-9E56-9731F6C7602B}"/>
                </c:ext>
              </c:extLst>
            </c:dLbl>
            <c:dLbl>
              <c:idx val="35"/>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1522-4FFF-9E56-9731F6C7602B}"/>
                </c:ext>
              </c:extLst>
            </c:dLbl>
            <c:dLbl>
              <c:idx val="36"/>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1522-4FFF-9E56-9731F6C7602B}"/>
                </c:ext>
              </c:extLst>
            </c:dLbl>
            <c:dLbl>
              <c:idx val="37"/>
              <c:tx>
                <c:rich>
                  <a:bodyPr/>
                  <a:lstStyle/>
                  <a:p>
                    <a:fld id="{32C13D9E-EF1E-432A-A17D-BA80EEAF1497}"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1522-4FFF-9E56-9731F6C7602B}"/>
                </c:ext>
              </c:extLst>
            </c:dLbl>
            <c:dLbl>
              <c:idx val="38"/>
              <c:tx>
                <c:rich>
                  <a:bodyPr/>
                  <a:lstStyle/>
                  <a:p>
                    <a:fld id="{F3C22939-8DB0-45AC-AF90-3000484E5949}"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1522-4FFF-9E56-9731F6C7602B}"/>
                </c:ext>
              </c:extLst>
            </c:dLbl>
            <c:dLbl>
              <c:idx val="39"/>
              <c:tx>
                <c:rich>
                  <a:bodyPr/>
                  <a:lstStyle/>
                  <a:p>
                    <a:fld id="{093538DD-DDC3-4DF8-8DD0-053A09EBDFC3}"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1522-4FFF-9E56-9731F6C7602B}"/>
                </c:ext>
              </c:extLst>
            </c:dLbl>
            <c:dLbl>
              <c:idx val="40"/>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1522-4FFF-9E56-9731F6C7602B}"/>
                </c:ext>
              </c:extLst>
            </c:dLbl>
            <c:dLbl>
              <c:idx val="41"/>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1522-4FFF-9E56-9731F6C7602B}"/>
                </c:ext>
              </c:extLst>
            </c:dLbl>
            <c:dLbl>
              <c:idx val="42"/>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1522-4FFF-9E56-9731F6C7602B}"/>
                </c:ext>
              </c:extLst>
            </c:dLbl>
            <c:dLbl>
              <c:idx val="43"/>
              <c:tx>
                <c:rich>
                  <a:bodyPr/>
                  <a:lstStyle/>
                  <a:p>
                    <a:fld id="{8757E0DE-887C-485A-A24B-92BCA5FC37BF}"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1522-4FFF-9E56-9731F6C7602B}"/>
                </c:ext>
              </c:extLst>
            </c:dLbl>
            <c:dLbl>
              <c:idx val="44"/>
              <c:tx>
                <c:rich>
                  <a:bodyPr/>
                  <a:lstStyle/>
                  <a:p>
                    <a:fld id="{79FB2B89-E96E-4659-BC57-27EB71C69F94}"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1522-4FFF-9E56-9731F6C7602B}"/>
                </c:ext>
              </c:extLst>
            </c:dLbl>
            <c:dLbl>
              <c:idx val="45"/>
              <c:tx>
                <c:rich>
                  <a:bodyPr/>
                  <a:lstStyle/>
                  <a:p>
                    <a:fld id="{32DFEA9B-8C96-42A7-A819-9F8E5F9C0CFC}"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1522-4FFF-9E56-9731F6C7602B}"/>
                </c:ext>
              </c:extLst>
            </c:dLbl>
            <c:dLbl>
              <c:idx val="46"/>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1522-4FFF-9E56-9731F6C7602B}"/>
                </c:ext>
              </c:extLst>
            </c:dLbl>
            <c:dLbl>
              <c:idx val="47"/>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1522-4FFF-9E56-9731F6C7602B}"/>
                </c:ext>
              </c:extLst>
            </c:dLbl>
            <c:dLbl>
              <c:idx val="48"/>
              <c:tx>
                <c:rich>
                  <a:bodyPr/>
                  <a:lstStyle/>
                  <a:p>
                    <a:endParaRPr lang="en-CH"/>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1522-4FFF-9E56-9731F6C7602B}"/>
                </c:ext>
              </c:extLst>
            </c:dLbl>
            <c:dLbl>
              <c:idx val="49"/>
              <c:tx>
                <c:rich>
                  <a:bodyPr/>
                  <a:lstStyle/>
                  <a:p>
                    <a:fld id="{AC41D17C-4F37-4B1F-8C1D-45A956CAD080}"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1522-4FFF-9E56-9731F6C7602B}"/>
                </c:ext>
              </c:extLst>
            </c:dLbl>
            <c:dLbl>
              <c:idx val="50"/>
              <c:tx>
                <c:rich>
                  <a:bodyPr/>
                  <a:lstStyle/>
                  <a:p>
                    <a:fld id="{EAE1FB09-600A-40C0-8085-EB24CBCF6849}"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1522-4FFF-9E56-9731F6C7602B}"/>
                </c:ext>
              </c:extLst>
            </c:dLbl>
            <c:dLbl>
              <c:idx val="51"/>
              <c:tx>
                <c:rich>
                  <a:bodyPr/>
                  <a:lstStyle/>
                  <a:p>
                    <a:fld id="{82BE8448-4D60-4C28-8B72-4149F945F711}"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1522-4FFF-9E56-9731F6C7602B}"/>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1522-4FFF-9E56-9731F6C7602B}"/>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1522-4FFF-9E56-9731F6C7602B}"/>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B$2:$B$11</c:f>
              <c:numCache>
                <c:formatCode>General</c:formatCode>
                <c:ptCount val="10"/>
                <c:pt idx="0">
                  <c:v>0.97553731504482122</c:v>
                </c:pt>
                <c:pt idx="1">
                  <c:v>1</c:v>
                </c:pt>
                <c:pt idx="2">
                  <c:v>0.96560128666794454</c:v>
                </c:pt>
                <c:pt idx="3">
                  <c:v>1</c:v>
                </c:pt>
                <c:pt idx="4">
                  <c:v>4.2670982812054552E-2</c:v>
                </c:pt>
                <c:pt idx="5">
                  <c:v>1</c:v>
                </c:pt>
                <c:pt idx="6">
                  <c:v>0.71063588973412994</c:v>
                </c:pt>
                <c:pt idx="7">
                  <c:v>4.152747056740308E-2</c:v>
                </c:pt>
                <c:pt idx="8">
                  <c:v>0.88317257601959165</c:v>
                </c:pt>
                <c:pt idx="9">
                  <c:v>0.5</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C$2:$C$11</c:f>
              <c:numCache>
                <c:formatCode>General</c:formatCode>
                <c:ptCount val="10"/>
                <c:pt idx="0">
                  <c:v>2.446268495517874E-2</c:v>
                </c:pt>
                <c:pt idx="2">
                  <c:v>3.4398713332055492E-2</c:v>
                </c:pt>
                <c:pt idx="4">
                  <c:v>0.9573290171879455</c:v>
                </c:pt>
                <c:pt idx="6">
                  <c:v>0.28936411026586994</c:v>
                </c:pt>
                <c:pt idx="7">
                  <c:v>0.95847252943259698</c:v>
                </c:pt>
                <c:pt idx="8">
                  <c:v>0.11682742398040841</c:v>
                </c:pt>
                <c:pt idx="9">
                  <c:v>0.5</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withinLinear" id="15">
  <a:schemeClr val="accent2"/>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5BE782C-E550-452E-9FE3-91B8E17AF226}" type="datetimeFigureOut">
              <a:rPr lang="en-AE" smtClean="0"/>
              <a:t>19/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FA683E8-0D0A-4C02-8331-429BD4A453B1}" type="slidenum">
              <a:rPr lang="en-AE" smtClean="0"/>
              <a:t>‹#›</a:t>
            </a:fld>
            <a:endParaRPr lang="en-AE"/>
          </a:p>
        </p:txBody>
      </p:sp>
    </p:spTree>
    <p:extLst>
      <p:ext uri="{BB962C8B-B14F-4D97-AF65-F5344CB8AC3E}">
        <p14:creationId xmlns:p14="http://schemas.microsoft.com/office/powerpoint/2010/main" val="157140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AB5EBF-BAA8-6138-B8F1-BFB4854B1A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09C062-CCD5-939B-4A2F-6FE08AF040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5901A2-4DC5-B138-7D02-F90798372008}"/>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5849A7B3-1A26-B7E6-4696-587785E956AD}"/>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9</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124940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BEF5B9-441A-4523-1ACE-593161F844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25B149-09B5-9BFC-B9FE-862E33482A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3BF498F-52A1-49CE-F97E-7C2102F38A51}"/>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881C2A81-3512-D72C-17BC-12FC847B80B4}"/>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0</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337120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BB97D-25DE-D7EC-8FB9-FBF4D21FC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C9335-9D72-C5D9-B738-EEFE5273FB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C2B80-AF3A-E4BA-F4B9-9CB294560CDB}"/>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1869EE83-6212-B7DB-50AC-BC6D2356A462}"/>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7</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9664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8</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6367651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2801423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60604921"/>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546860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215836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019364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760177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155241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49503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19/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664086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9/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4620400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816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9/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5244384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9/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03046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9/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932298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777175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3747906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19/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8940676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3292159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71045061"/>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8859716"/>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74903640"/>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19/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54970409"/>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0492933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19/2025</a:t>
            </a:fld>
            <a:endParaRPr lang="en-US"/>
          </a:p>
        </p:txBody>
      </p:sp>
    </p:spTree>
    <p:extLst>
      <p:ext uri="{BB962C8B-B14F-4D97-AF65-F5344CB8AC3E}">
        <p14:creationId xmlns:p14="http://schemas.microsoft.com/office/powerpoint/2010/main" val="1848249703"/>
      </p:ext>
    </p:extLst>
  </p:cSld>
  <p:clrMap bg1="lt1" tx1="dk1" bg2="lt2" tx2="dk2" accent1="accent1" accent2="accent2" accent3="accent3" accent4="accent4" accent5="accent5" accent6="accent6" hlink="hlink" folHlink="folHlink"/>
  <p:sldLayoutIdLst>
    <p:sldLayoutId id="2147483895"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54" r:id="rId23"/>
    <p:sldLayoutId id="214748395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chart" Target="../charts/chart2.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8.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1.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2.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3.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4.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19.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18.xml"/><Relationship Id="rId5" Type="http://schemas.openxmlformats.org/officeDocument/2006/relationships/chart" Target="../charts/chart17.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8" Type="http://schemas.openxmlformats.org/officeDocument/2006/relationships/chart" Target="../charts/chart23.xml"/><Relationship Id="rId3" Type="http://schemas.openxmlformats.org/officeDocument/2006/relationships/oleObject" Target="../embeddings/oleObject28.bin"/><Relationship Id="rId7" Type="http://schemas.openxmlformats.org/officeDocument/2006/relationships/chart" Target="../charts/chart22.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21.xml"/><Relationship Id="rId5" Type="http://schemas.openxmlformats.org/officeDocument/2006/relationships/chart" Target="../charts/chart20.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26.xml"/><Relationship Id="rId4" Type="http://schemas.openxmlformats.org/officeDocument/2006/relationships/image" Target="../media/image3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28.xml"/><Relationship Id="rId5" Type="http://schemas.openxmlformats.org/officeDocument/2006/relationships/chart" Target="../charts/chart27.xml"/><Relationship Id="rId4" Type="http://schemas.openxmlformats.org/officeDocument/2006/relationships/image" Target="../media/image3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30.bin"/><Relationship Id="rId7" Type="http://schemas.openxmlformats.org/officeDocument/2006/relationships/chart" Target="../charts/chart31.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30.xml"/><Relationship Id="rId5" Type="http://schemas.openxmlformats.org/officeDocument/2006/relationships/chart" Target="../charts/chart29.xml"/><Relationship Id="rId4" Type="http://schemas.openxmlformats.org/officeDocument/2006/relationships/image" Target="../media/image31.emf"/></Relationships>
</file>

<file path=ppt/slides/_rels/slide24.xml.rels><?xml version="1.0" encoding="UTF-8" standalone="yes"?>
<Relationships xmlns="http://schemas.openxmlformats.org/package/2006/relationships"><Relationship Id="rId8" Type="http://schemas.openxmlformats.org/officeDocument/2006/relationships/chart" Target="../charts/chart35.xml"/><Relationship Id="rId3" Type="http://schemas.openxmlformats.org/officeDocument/2006/relationships/oleObject" Target="../embeddings/oleObject30.bin"/><Relationship Id="rId7" Type="http://schemas.openxmlformats.org/officeDocument/2006/relationships/chart" Target="../charts/chart34.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33.xml"/><Relationship Id="rId5" Type="http://schemas.openxmlformats.org/officeDocument/2006/relationships/chart" Target="../charts/chart32.xml"/><Relationship Id="rId4" Type="http://schemas.openxmlformats.org/officeDocument/2006/relationships/image" Target="../media/image31.emf"/></Relationships>
</file>

<file path=ppt/slides/_rels/slide25.xml.rels><?xml version="1.0" encoding="UTF-8" standalone="yes"?>
<Relationships xmlns="http://schemas.openxmlformats.org/package/2006/relationships"><Relationship Id="rId8" Type="http://schemas.openxmlformats.org/officeDocument/2006/relationships/chart" Target="../charts/chart39.xml"/><Relationship Id="rId3" Type="http://schemas.openxmlformats.org/officeDocument/2006/relationships/oleObject" Target="../embeddings/oleObject30.bin"/><Relationship Id="rId7" Type="http://schemas.openxmlformats.org/officeDocument/2006/relationships/chart" Target="../charts/chart38.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37.xml"/><Relationship Id="rId5" Type="http://schemas.openxmlformats.org/officeDocument/2006/relationships/chart" Target="../charts/chart36.xml"/><Relationship Id="rId4" Type="http://schemas.openxmlformats.org/officeDocument/2006/relationships/image" Target="../media/image31.emf"/><Relationship Id="rId9" Type="http://schemas.openxmlformats.org/officeDocument/2006/relationships/chart" Target="../charts/chart40.xml"/></Relationships>
</file>

<file path=ppt/slides/_rels/slide26.xml.rels><?xml version="1.0" encoding="UTF-8" standalone="yes"?>
<Relationships xmlns="http://schemas.openxmlformats.org/package/2006/relationships"><Relationship Id="rId8" Type="http://schemas.openxmlformats.org/officeDocument/2006/relationships/chart" Target="../charts/chart44.xml"/><Relationship Id="rId3" Type="http://schemas.openxmlformats.org/officeDocument/2006/relationships/chart" Target="../charts/chart41.xml"/><Relationship Id="rId7" Type="http://schemas.openxmlformats.org/officeDocument/2006/relationships/chart" Target="../charts/chart43.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42.xml"/><Relationship Id="rId5" Type="http://schemas.openxmlformats.org/officeDocument/2006/relationships/image" Target="../media/image31.emf"/><Relationship Id="rId10" Type="http://schemas.openxmlformats.org/officeDocument/2006/relationships/chart" Target="../charts/chart46.xml"/><Relationship Id="rId4" Type="http://schemas.openxmlformats.org/officeDocument/2006/relationships/oleObject" Target="../embeddings/oleObject30.bin"/><Relationship Id="rId9" Type="http://schemas.openxmlformats.org/officeDocument/2006/relationships/chart" Target="../charts/chart45.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47.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49.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48.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9.xml.rels><?xml version="1.0" encoding="UTF-8" standalone="yes"?>
<Relationships xmlns="http://schemas.openxmlformats.org/package/2006/relationships"><Relationship Id="rId8" Type="http://schemas.openxmlformats.org/officeDocument/2006/relationships/chart" Target="../charts/chart52.xml"/><Relationship Id="rId3" Type="http://schemas.openxmlformats.org/officeDocument/2006/relationships/notesSlide" Target="../notesSlides/notesSlide10.xml"/><Relationship Id="rId7" Type="http://schemas.openxmlformats.org/officeDocument/2006/relationships/chart" Target="../charts/chart51.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50.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xml.rels><?xml version="1.0" encoding="UTF-8" standalone="yes"?>
<Relationships xmlns="http://schemas.openxmlformats.org/package/2006/relationships"><Relationship Id="rId8" Type="http://schemas.openxmlformats.org/officeDocument/2006/relationships/chart" Target="../charts/chart55.xml"/><Relationship Id="rId3" Type="http://schemas.openxmlformats.org/officeDocument/2006/relationships/notesSlide" Target="../notesSlides/notesSlide11.xml"/><Relationship Id="rId7" Type="http://schemas.openxmlformats.org/officeDocument/2006/relationships/chart" Target="../charts/chart54.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53.xml"/><Relationship Id="rId5" Type="http://schemas.openxmlformats.org/officeDocument/2006/relationships/image" Target="../media/image32.emf"/><Relationship Id="rId4" Type="http://schemas.openxmlformats.org/officeDocument/2006/relationships/oleObject" Target="../embeddings/oleObject31.bin"/><Relationship Id="rId9" Type="http://schemas.openxmlformats.org/officeDocument/2006/relationships/chart" Target="../charts/chart56.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5.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hart" Target="../charts/chart7.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6.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37946498"/>
              </p:ext>
            </p:extLst>
          </p:nvPr>
        </p:nvGraphicFramePr>
        <p:xfrm>
          <a:off x="496832" y="1140421"/>
          <a:ext cx="8147060" cy="3591917"/>
        </p:xfrm>
        <a:graphic>
          <a:graphicData uri="http://schemas.openxmlformats.org/drawingml/2006/table">
            <a:tbl>
              <a:tblPr firstRow="1" bandRow="1">
                <a:tableStyleId>{5C22544A-7EE6-4342-B048-85BDC9FD1C3A}</a:tableStyleId>
              </a:tblPr>
              <a:tblGrid>
                <a:gridCol w="1629412">
                  <a:extLst>
                    <a:ext uri="{9D8B030D-6E8A-4147-A177-3AD203B41FA5}">
                      <a16:colId xmlns:a16="http://schemas.microsoft.com/office/drawing/2014/main" val="654108321"/>
                    </a:ext>
                  </a:extLst>
                </a:gridCol>
                <a:gridCol w="1629412">
                  <a:extLst>
                    <a:ext uri="{9D8B030D-6E8A-4147-A177-3AD203B41FA5}">
                      <a16:colId xmlns:a16="http://schemas.microsoft.com/office/drawing/2014/main" val="2577239026"/>
                    </a:ext>
                  </a:extLst>
                </a:gridCol>
                <a:gridCol w="1629412">
                  <a:extLst>
                    <a:ext uri="{9D8B030D-6E8A-4147-A177-3AD203B41FA5}">
                      <a16:colId xmlns:a16="http://schemas.microsoft.com/office/drawing/2014/main" val="1241509968"/>
                    </a:ext>
                  </a:extLst>
                </a:gridCol>
                <a:gridCol w="1629412">
                  <a:extLst>
                    <a:ext uri="{9D8B030D-6E8A-4147-A177-3AD203B41FA5}">
                      <a16:colId xmlns:a16="http://schemas.microsoft.com/office/drawing/2014/main" val="857200868"/>
                    </a:ext>
                  </a:extLst>
                </a:gridCol>
                <a:gridCol w="1629412">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3792627937"/>
              </p:ext>
            </p:extLst>
          </p:nvPr>
        </p:nvGraphicFramePr>
        <p:xfrm>
          <a:off x="5385787" y="1487345"/>
          <a:ext cx="1612924" cy="3240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3225666939"/>
              </p:ext>
            </p:extLst>
          </p:nvPr>
        </p:nvGraphicFramePr>
        <p:xfrm>
          <a:off x="7014031" y="1487345"/>
          <a:ext cx="1612924" cy="3240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934784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398382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272913">
                <a:tc>
                  <a:txBody>
                    <a:bodyPr/>
                    <a:lstStyle/>
                    <a:p>
                      <a:pPr algn="l" fontAlgn="b"/>
                      <a:r>
                        <a:rPr lang="en-US" sz="900" dirty="0" err="1">
                          <a:solidFill>
                            <a:srgbClr val="575555"/>
                          </a:solidFill>
                          <a:latin typeface="Nexa Bold"/>
                        </a:rPr>
                        <a:t>Arbi</a:t>
                      </a:r>
                      <a:r>
                        <a:rPr lang="en-US" sz="900" dirty="0">
                          <a:solidFill>
                            <a:srgbClr val="575555"/>
                          </a:solidFill>
                          <a:latin typeface="Nexa Bold"/>
                        </a:rPr>
                        <a:t> Dario Sp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074376805"/>
                  </a:ext>
                </a:extLst>
              </a:tr>
              <a:tr h="272913">
                <a:tc>
                  <a:txBody>
                    <a:bodyPr/>
                    <a:lstStyle/>
                    <a:p>
                      <a:pPr algn="l" fontAlgn="b"/>
                      <a:r>
                        <a:rPr lang="en-US" sz="900" dirty="0">
                          <a:solidFill>
                            <a:srgbClr val="575555"/>
                          </a:solidFill>
                          <a:latin typeface="Nexa Bold"/>
                        </a:rPr>
                        <a:t>Esca </a:t>
                      </a:r>
                      <a:r>
                        <a:rPr lang="en-US" sz="900" dirty="0" err="1">
                          <a:solidFill>
                            <a:srgbClr val="575555"/>
                          </a:solidFill>
                          <a:latin typeface="Nexa Bold"/>
                        </a:rPr>
                        <a:t>Srl</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335245974"/>
                  </a:ext>
                </a:extLst>
              </a:tr>
              <a:tr h="272913">
                <a:tc>
                  <a:txBody>
                    <a:bodyPr/>
                    <a:lstStyle/>
                    <a:p>
                      <a:pPr algn="l" fontAlgn="b"/>
                      <a:r>
                        <a:rPr lang="en-US" sz="900" dirty="0">
                          <a:solidFill>
                            <a:srgbClr val="575555"/>
                          </a:solidFill>
                          <a:latin typeface="Nexa Bold"/>
                        </a:rPr>
                        <a:t>Findu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967797037"/>
                  </a:ext>
                </a:extLst>
              </a:tr>
              <a:tr h="272913">
                <a:tc>
                  <a:txBody>
                    <a:bodyPr/>
                    <a:lstStyle/>
                    <a:p>
                      <a:pPr algn="l" fontAlgn="b"/>
                      <a:r>
                        <a:rPr lang="en-US" sz="900" dirty="0" err="1">
                          <a:solidFill>
                            <a:srgbClr val="575555"/>
                          </a:solidFill>
                          <a:latin typeface="Nexa Bold"/>
                        </a:rPr>
                        <a:t>Frost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272913">
                <a:tc>
                  <a:txBody>
                    <a:bodyPr/>
                    <a:lstStyle/>
                    <a:p>
                      <a:pPr algn="l" fontAlgn="b"/>
                      <a:r>
                        <a:rPr lang="en-US" sz="900" dirty="0" err="1">
                          <a:solidFill>
                            <a:srgbClr val="575555"/>
                          </a:solidFill>
                          <a:latin typeface="Nexa Bold"/>
                        </a:rPr>
                        <a:t>Krusta</a:t>
                      </a:r>
                      <a:r>
                        <a:rPr lang="en-US" sz="900" dirty="0">
                          <a:solidFill>
                            <a:srgbClr val="575555"/>
                          </a:solidFill>
                          <a:latin typeface="Nexa Bold"/>
                        </a:rPr>
                        <a:t> Group</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272913">
                <a:tc>
                  <a:txBody>
                    <a:bodyPr/>
                    <a:lstStyle/>
                    <a:p>
                      <a:pPr algn="l" fontAlgn="b"/>
                      <a:r>
                        <a:rPr lang="en-US" sz="900" dirty="0">
                          <a:solidFill>
                            <a:srgbClr val="575555"/>
                          </a:solidFill>
                          <a:latin typeface="Nexa Bold"/>
                        </a:rPr>
                        <a:t>New Foo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272913">
                <a:tc>
                  <a:txBody>
                    <a:bodyPr/>
                    <a:lstStyle/>
                    <a:p>
                      <a:pPr algn="l" fontAlgn="b"/>
                      <a:r>
                        <a:rPr lang="en-US" sz="900" dirty="0" err="1">
                          <a:solidFill>
                            <a:srgbClr val="575555"/>
                          </a:solidFill>
                          <a:latin typeface="Nexa Bold"/>
                        </a:rPr>
                        <a:t>Panapesc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272913">
                <a:tc>
                  <a:txBody>
                    <a:bodyPr/>
                    <a:lstStyle/>
                    <a:p>
                      <a:pPr algn="l" fontAlgn="b"/>
                      <a:r>
                        <a:rPr lang="en-US" sz="900" dirty="0" err="1">
                          <a:solidFill>
                            <a:srgbClr val="575555"/>
                          </a:solidFill>
                          <a:latin typeface="Nexa Bold"/>
                        </a:rPr>
                        <a:t>Pescanova</a:t>
                      </a:r>
                      <a:r>
                        <a:rPr lang="en-US" sz="900" dirty="0">
                          <a:solidFill>
                            <a:srgbClr val="575555"/>
                          </a:solidFill>
                          <a:latin typeface="Nexa Bold"/>
                        </a:rPr>
                        <a:t> S.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272913">
                <a:tc>
                  <a:txBody>
                    <a:bodyPr/>
                    <a:lstStyle/>
                    <a:p>
                      <a:pPr algn="l" fontAlgn="b"/>
                      <a:r>
                        <a:rPr lang="en-US" sz="900" dirty="0">
                          <a:solidFill>
                            <a:srgbClr val="575555"/>
                          </a:solidFill>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272913">
                <a:tc>
                  <a:txBody>
                    <a:bodyPr/>
                    <a:lstStyle/>
                    <a:p>
                      <a:pPr algn="l" fontAlgn="b"/>
                      <a:r>
                        <a:rPr lang="en-US" sz="900" dirty="0">
                          <a:solidFill>
                            <a:srgbClr val="575555"/>
                          </a:solidFill>
                          <a:latin typeface="Nexa Bold"/>
                        </a:rPr>
                        <a:t>Pricing 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a:t>% Promo sales by total siz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32273216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8720359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0870992-F0EF-B48B-C512-CAB0263607E5}"/>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0870992-F0EF-B48B-C512-CAB0263607E5}"/>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30F8263A-2178-A954-F534-006365993B28}"/>
              </a:ext>
            </a:extLst>
          </p:cNvPr>
          <p:cNvSpPr>
            <a:spLocks noGrp="1"/>
          </p:cNvSpPr>
          <p:nvPr>
            <p:ph type="dt" sz="half" idx="14"/>
          </p:nvPr>
        </p:nvSpPr>
        <p:spPr>
          <a:xfrm>
            <a:off x="8082390" y="4972050"/>
            <a:ext cx="557609" cy="171450"/>
          </a:xfrm>
        </p:spPr>
        <p:txBody>
          <a:bodyPr/>
          <a:lstStyle/>
          <a:p>
            <a:pPr lvl="0"/>
            <a:fld id="{ECE2348F-4A5E-4377-BC6E-44DA80E64CED}" type="datetime1">
              <a:rPr lang="en-US" noProof="0" smtClean="0"/>
              <a:pPr lvl="0"/>
              <a:t>9/19/2025</a:t>
            </a:fld>
            <a:endParaRPr lang="en-US" noProof="0"/>
          </a:p>
        </p:txBody>
      </p:sp>
      <p:sp>
        <p:nvSpPr>
          <p:cNvPr id="9" name="Footer Placeholder 8">
            <a:extLst>
              <a:ext uri="{FF2B5EF4-FFF2-40B4-BE49-F238E27FC236}">
                <a16:creationId xmlns:a16="http://schemas.microsoft.com/office/drawing/2014/main" id="{4DCD2A08-01E5-6C57-C2F4-7845774327A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E87B52AC-8018-1DEA-CAEA-DD623D44C3F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pPr lvl="0"/>
            <a:r>
              <a:rPr lang="da-DK" noProof="0" dirty="0"/>
              <a:t>Data Source | Nielsen | Ending Mar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dirty="0"/>
              <a:t>Feature</a:t>
            </a:r>
            <a:r>
              <a:rPr lang="en-AE" dirty="0"/>
              <a:t> </a:t>
            </a:r>
            <a:r>
              <a:rPr lang="en-US" dirty="0"/>
              <a:t>Share vs. Fair Share </a:t>
            </a:r>
            <a:r>
              <a:rPr lang="en-US"/>
              <a:t>| Retailer </a:t>
            </a:r>
            <a:r>
              <a:rPr lang="en-AE" dirty="0"/>
              <a:t>| </a:t>
            </a:r>
            <a:r>
              <a:rPr lang="en-US" dirty="0"/>
              <a:t>P12M</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Feature Share vs. Fair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6"/>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49"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fr-FR" sz="600" b="0" i="0" u="none" strike="noStrike" kern="1200" cap="none" spc="0" normalizeH="0" baseline="0" noProof="0">
              <a:ln>
                <a:noFill/>
              </a:ln>
              <a:solidFill>
                <a:srgbClr val="00A097"/>
              </a:solidFill>
              <a:effectLst/>
              <a:uLnTx/>
              <a:uFillTx/>
              <a:latin typeface="Raleway" panose="020B0503030101060003"/>
              <a:ea typeface="+mn-ea"/>
              <a:cs typeface="+mn-cs"/>
            </a:endParaRPr>
          </a:p>
        </p:txBody>
      </p:sp>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236849936"/>
              </p:ext>
            </p:extLst>
          </p:nvPr>
        </p:nvGraphicFramePr>
        <p:xfrm>
          <a:off x="537483" y="1137274"/>
          <a:ext cx="8096662" cy="359506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405213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41BD8230-08F6-6B04-600B-F5771ED4BCB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41BD8230-08F6-6B04-600B-F5771ED4BCB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30F8263A-2178-A954-F534-006365993B28}"/>
              </a:ext>
            </a:extLst>
          </p:cNvPr>
          <p:cNvSpPr>
            <a:spLocks noGrp="1"/>
          </p:cNvSpPr>
          <p:nvPr>
            <p:ph type="dt" sz="half" idx="14"/>
          </p:nvPr>
        </p:nvSpPr>
        <p:spPr>
          <a:xfrm>
            <a:off x="8082390" y="4972050"/>
            <a:ext cx="557609" cy="171450"/>
          </a:xfrm>
        </p:spPr>
        <p:txBody>
          <a:bodyPr/>
          <a:lstStyle/>
          <a:p>
            <a:pPr lvl="0"/>
            <a:fld id="{4AF59A4A-DBA3-4B15-9761-DDCAB7C5C67C}" type="datetime1">
              <a:rPr lang="en-US" noProof="0" smtClean="0"/>
              <a:pPr lvl="0"/>
              <a:t>9/19/2025</a:t>
            </a:fld>
            <a:endParaRPr lang="en-US" noProof="0"/>
          </a:p>
        </p:txBody>
      </p:sp>
      <p:sp>
        <p:nvSpPr>
          <p:cNvPr id="9" name="Footer Placeholder 8">
            <a:extLst>
              <a:ext uri="{FF2B5EF4-FFF2-40B4-BE49-F238E27FC236}">
                <a16:creationId xmlns:a16="http://schemas.microsoft.com/office/drawing/2014/main" id="{577D2D85-84DF-541E-528E-A6A57B5D4C3C}"/>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C09D557A-3BE9-D9F6-C3E6-D81AC7A58ABC}"/>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pPr lvl="0"/>
            <a:r>
              <a:rPr lang="da-DK" noProof="0"/>
              <a:t>Data Source | Nielsen | Ending Mar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Display</a:t>
            </a:r>
            <a:r>
              <a:rPr lang="en-AE"/>
              <a:t> </a:t>
            </a:r>
            <a:r>
              <a:rPr lang="en-US"/>
              <a:t>Share vs. Fair Share | Retailer </a:t>
            </a:r>
            <a:r>
              <a:rPr lang="en-AE"/>
              <a:t>| </a:t>
            </a:r>
            <a:r>
              <a:rPr lang="en-US"/>
              <a:t>P12M</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Display Share vs. Fair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6"/>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49"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fr-FR" sz="600" b="0" i="0" u="none" strike="noStrike" kern="1200" cap="none" spc="0" normalizeH="0" baseline="0" noProof="0">
              <a:ln>
                <a:noFill/>
              </a:ln>
              <a:solidFill>
                <a:srgbClr val="00A097"/>
              </a:solidFill>
              <a:effectLst/>
              <a:uLnTx/>
              <a:uFillTx/>
              <a:latin typeface="Raleway" panose="020B0503030101060003"/>
              <a:ea typeface="+mn-ea"/>
              <a:cs typeface="+mn-cs"/>
            </a:endParaRPr>
          </a:p>
        </p:txBody>
      </p:sp>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222046809"/>
              </p:ext>
            </p:extLst>
          </p:nvPr>
        </p:nvGraphicFramePr>
        <p:xfrm>
          <a:off x="540726" y="1137272"/>
          <a:ext cx="8096662" cy="359683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007209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9/19/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5768377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9/19/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dirty="0"/>
              <a:t>Data Source | Trade Panel</a:t>
            </a:r>
            <a:endParaRPr lang="en-GB" dirty="0"/>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743716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9/19/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1645793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9/19/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704672054"/>
              </p:ext>
            </p:extLst>
          </p:nvPr>
        </p:nvGraphicFramePr>
        <p:xfrm>
          <a:off x="547224" y="1134892"/>
          <a:ext cx="216000" cy="3112854"/>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037618">
                <a:tc>
                  <a:txBody>
                    <a:bodyPr/>
                    <a:lstStyle/>
                    <a:p>
                      <a:pPr algn="ctr"/>
                      <a:r>
                        <a:rPr lang="en-US" sz="800" dirty="0">
                          <a:latin typeface="Nexa Bold" panose="00000800000000000000" pitchFamily="2" charset="0"/>
                        </a:rPr>
                        <a:t>Carrefour</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185244123"/>
                  </a:ext>
                </a:extLst>
              </a:tr>
              <a:tr h="1037618">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1037618">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2" name="Content Placeholder 19">
            <a:extLst>
              <a:ext uri="{FF2B5EF4-FFF2-40B4-BE49-F238E27FC236}">
                <a16:creationId xmlns:a16="http://schemas.microsoft.com/office/drawing/2014/main" id="{F389A7D3-2361-FB29-69DF-956A4DF1D33C}"/>
              </a:ext>
            </a:extLst>
          </p:cNvPr>
          <p:cNvGraphicFramePr>
            <a:graphicFrameLocks/>
          </p:cNvGraphicFramePr>
          <p:nvPr/>
        </p:nvGraphicFramePr>
        <p:xfrm>
          <a:off x="797668" y="1134892"/>
          <a:ext cx="7843095" cy="102988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9">
            <a:extLst>
              <a:ext uri="{FF2B5EF4-FFF2-40B4-BE49-F238E27FC236}">
                <a16:creationId xmlns:a16="http://schemas.microsoft.com/office/drawing/2014/main" id="{AA3374B6-17D3-01C0-46E5-6DB0C44FFE24}"/>
              </a:ext>
            </a:extLst>
          </p:cNvPr>
          <p:cNvGraphicFramePr>
            <a:graphicFrameLocks/>
          </p:cNvGraphicFramePr>
          <p:nvPr/>
        </p:nvGraphicFramePr>
        <p:xfrm>
          <a:off x="797668" y="2290154"/>
          <a:ext cx="7843095" cy="92960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 name="Content Placeholder 19">
            <a:extLst>
              <a:ext uri="{FF2B5EF4-FFF2-40B4-BE49-F238E27FC236}">
                <a16:creationId xmlns:a16="http://schemas.microsoft.com/office/drawing/2014/main" id="{04E8AD50-7F97-85DC-705B-B1CD8452C3D2}"/>
              </a:ext>
            </a:extLst>
          </p:cNvPr>
          <p:cNvGraphicFramePr>
            <a:graphicFrameLocks/>
          </p:cNvGraphicFramePr>
          <p:nvPr>
            <p:extLst>
              <p:ext uri="{D42A27DB-BD31-4B8C-83A1-F6EECF244321}">
                <p14:modId xmlns:p14="http://schemas.microsoft.com/office/powerpoint/2010/main" val="3682642633"/>
              </p:ext>
            </p:extLst>
          </p:nvPr>
        </p:nvGraphicFramePr>
        <p:xfrm>
          <a:off x="797668" y="3324729"/>
          <a:ext cx="7843095" cy="1406951"/>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819508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9/19/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dirty="0"/>
              <a:t>Data Source | Trade Panel</a:t>
            </a:r>
            <a:endParaRPr lang="en-GB" dirty="0"/>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347662652"/>
              </p:ext>
            </p:extLst>
          </p:nvPr>
        </p:nvGraphicFramePr>
        <p:xfrm>
          <a:off x="543464" y="1138144"/>
          <a:ext cx="216000" cy="3097884"/>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774471">
                <a:tc>
                  <a:txBody>
                    <a:bodyPr/>
                    <a:lstStyle/>
                    <a:p>
                      <a:pPr algn="ctr"/>
                      <a:r>
                        <a:rPr lang="en-US" sz="800" dirty="0">
                          <a:latin typeface="Nexa Bold" panose="00000800000000000000" pitchFamily="2" charset="0"/>
                        </a:rPr>
                        <a:t>Carrefour</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185244123"/>
                  </a:ext>
                </a:extLst>
              </a:tr>
              <a:tr h="774471">
                <a:tc>
                  <a:txBody>
                    <a:bodyPr/>
                    <a:lstStyle/>
                    <a:p>
                      <a:pPr algn="ctr"/>
                      <a:r>
                        <a:rPr lang="en-US" sz="800">
                          <a:latin typeface="Nexa Bold" panose="00000800000000000000" pitchFamily="2" charset="0"/>
                        </a:rPr>
                        <a:t>Coop Alleanza</a:t>
                      </a:r>
                      <a:endParaRPr lang="en-CH" sz="80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3908580997"/>
                  </a:ext>
                </a:extLst>
              </a:tr>
              <a:tr h="774471">
                <a:tc>
                  <a:txBody>
                    <a:bodyPr/>
                    <a:lstStyle/>
                    <a:p>
                      <a:pPr algn="ctr"/>
                      <a:r>
                        <a:rPr lang="en-US" sz="800">
                          <a:latin typeface="Nexa Bold" panose="00000800000000000000" pitchFamily="2" charset="0"/>
                        </a:rPr>
                        <a:t>Esselunga</a:t>
                      </a:r>
                      <a:endParaRPr lang="en-CH" sz="80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774471">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4" name="Content Placeholder 19">
            <a:extLst>
              <a:ext uri="{FF2B5EF4-FFF2-40B4-BE49-F238E27FC236}">
                <a16:creationId xmlns:a16="http://schemas.microsoft.com/office/drawing/2014/main" id="{8D8A54D8-E668-3C4D-A6B1-85CE8E015A13}"/>
              </a:ext>
            </a:extLst>
          </p:cNvPr>
          <p:cNvGraphicFramePr>
            <a:graphicFrameLocks/>
          </p:cNvGraphicFramePr>
          <p:nvPr/>
        </p:nvGraphicFramePr>
        <p:xfrm>
          <a:off x="796636" y="1140363"/>
          <a:ext cx="7844127" cy="77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 name="Content Placeholder 19">
            <a:extLst>
              <a:ext uri="{FF2B5EF4-FFF2-40B4-BE49-F238E27FC236}">
                <a16:creationId xmlns:a16="http://schemas.microsoft.com/office/drawing/2014/main" id="{DB384682-35BA-7713-45C0-B93BC417A78A}"/>
              </a:ext>
            </a:extLst>
          </p:cNvPr>
          <p:cNvGraphicFramePr>
            <a:graphicFrameLocks/>
          </p:cNvGraphicFramePr>
          <p:nvPr/>
        </p:nvGraphicFramePr>
        <p:xfrm>
          <a:off x="796636" y="2054157"/>
          <a:ext cx="7844127" cy="7765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ontent Placeholder 19">
            <a:extLst>
              <a:ext uri="{FF2B5EF4-FFF2-40B4-BE49-F238E27FC236}">
                <a16:creationId xmlns:a16="http://schemas.microsoft.com/office/drawing/2014/main" id="{122FE7EF-742E-A05E-0CCF-20797CCB1FA3}"/>
              </a:ext>
            </a:extLst>
          </p:cNvPr>
          <p:cNvGraphicFramePr>
            <a:graphicFrameLocks/>
          </p:cNvGraphicFramePr>
          <p:nvPr/>
        </p:nvGraphicFramePr>
        <p:xfrm>
          <a:off x="796636" y="2816307"/>
          <a:ext cx="7844127" cy="7765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3" name="Content Placeholder 19">
            <a:extLst>
              <a:ext uri="{FF2B5EF4-FFF2-40B4-BE49-F238E27FC236}">
                <a16:creationId xmlns:a16="http://schemas.microsoft.com/office/drawing/2014/main" id="{CF9222A0-9AAB-C1CF-B74B-1E194C6C0D6B}"/>
              </a:ext>
            </a:extLst>
          </p:cNvPr>
          <p:cNvGraphicFramePr>
            <a:graphicFrameLocks/>
          </p:cNvGraphicFramePr>
          <p:nvPr>
            <p:extLst>
              <p:ext uri="{D42A27DB-BD31-4B8C-83A1-F6EECF244321}">
                <p14:modId xmlns:p14="http://schemas.microsoft.com/office/powerpoint/2010/main" val="1680988584"/>
              </p:ext>
            </p:extLst>
          </p:nvPr>
        </p:nvGraphicFramePr>
        <p:xfrm>
          <a:off x="796636" y="3558344"/>
          <a:ext cx="7844127" cy="117098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0373457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9/19/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rPr lang="en-US"/>
              <a:t>DATA SOURCE: Trade Panel/Retailer Data | Ending Dec 2022</a:t>
            </a:r>
            <a:endParaRPr lang="da-DK"/>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r>
              <a:rPr lang="en-US" dirty="0"/>
              <a:t>Volume sold on deal Summary | By Brand | By Sector | Category | National | P12M</a:t>
            </a:r>
            <a:endParaRPr lang="en-AE" dirty="0"/>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4" cy="3801000"/>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1295060">
                  <a:extLst>
                    <a:ext uri="{9D8B030D-6E8A-4147-A177-3AD203B41FA5}">
                      <a16:colId xmlns:a16="http://schemas.microsoft.com/office/drawing/2014/main" val="8673104"/>
                    </a:ext>
                  </a:extLst>
                </a:gridCol>
                <a:gridCol w="1295060">
                  <a:extLst>
                    <a:ext uri="{9D8B030D-6E8A-4147-A177-3AD203B41FA5}">
                      <a16:colId xmlns:a16="http://schemas.microsoft.com/office/drawing/2014/main" val="1028273140"/>
                    </a:ext>
                  </a:extLst>
                </a:gridCol>
                <a:gridCol w="1295060">
                  <a:extLst>
                    <a:ext uri="{9D8B030D-6E8A-4147-A177-3AD203B41FA5}">
                      <a16:colId xmlns:a16="http://schemas.microsoft.com/office/drawing/2014/main" val="2342841255"/>
                    </a:ext>
                  </a:extLst>
                </a:gridCol>
                <a:gridCol w="1295060">
                  <a:extLst>
                    <a:ext uri="{9D8B030D-6E8A-4147-A177-3AD203B41FA5}">
                      <a16:colId xmlns:a16="http://schemas.microsoft.com/office/drawing/2014/main" val="1336055313"/>
                    </a:ext>
                  </a:extLst>
                </a:gridCol>
                <a:gridCol w="1295060">
                  <a:extLst>
                    <a:ext uri="{9D8B030D-6E8A-4147-A177-3AD203B41FA5}">
                      <a16:colId xmlns:a16="http://schemas.microsoft.com/office/drawing/2014/main" val="481471067"/>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hin</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akeawa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Snacking</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Deep</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Dietar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81777">
                <a:tc>
                  <a:txBody>
                    <a:bodyPr/>
                    <a:lstStyle/>
                    <a:p>
                      <a:pPr algn="ctr" fontAlgn="b"/>
                      <a:r>
                        <a:rPr lang="en-US" sz="800" b="0" i="0" kern="1200" dirty="0">
                          <a:solidFill>
                            <a:srgbClr val="575555"/>
                          </a:solidFill>
                          <a:latin typeface="Nexa Bold" panose="00000800000000000000" pitchFamily="2" charset="0"/>
                          <a:ea typeface="+mn-ea"/>
                          <a:cs typeface="+mn-cs"/>
                        </a:rP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6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381777">
                <a:tc>
                  <a:txBody>
                    <a:bodyPr/>
                    <a:lstStyle/>
                    <a:p>
                      <a:pPr algn="ctr" fontAlgn="b"/>
                      <a:r>
                        <a:rPr lang="en-US" sz="800" b="0" i="0" kern="1200" dirty="0">
                          <a:solidFill>
                            <a:srgbClr val="575555"/>
                          </a:solidFill>
                          <a:latin typeface="Nexa Bold" panose="00000800000000000000" pitchFamily="2" charset="0"/>
                          <a:ea typeface="+mn-ea"/>
                          <a:cs typeface="+mn-cs"/>
                        </a:rPr>
                        <a:t>Goodfella’s</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3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4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7609235"/>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Chicago Town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96994351"/>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Dr Oetker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5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4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Gigantic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8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1102018"/>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39445379"/>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7357368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9/19/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6076073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95CF73-FB89-0B93-0441-FDF373A036EC}"/>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AB13B13-F7D6-AB1A-272B-46EBC1B9E54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41E7C470-70FD-74A4-7110-38731C308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D8EE896-E39A-D9A3-82FC-83118032EF6C}"/>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9/19/2025</a:t>
            </a:fld>
            <a:endParaRPr lang="en-US" noProof="0"/>
          </a:p>
        </p:txBody>
      </p:sp>
      <p:sp>
        <p:nvSpPr>
          <p:cNvPr id="4" name="Footer" hidden="1">
            <a:extLst>
              <a:ext uri="{FF2B5EF4-FFF2-40B4-BE49-F238E27FC236}">
                <a16:creationId xmlns:a16="http://schemas.microsoft.com/office/drawing/2014/main" id="{AB28F48E-D5E4-D538-CB9A-E9C13BFCEAE0}"/>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BA2CC67-B5B8-0EB8-BBDE-2724EE1E3FF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15" name="Data Source">
            <a:extLst>
              <a:ext uri="{FF2B5EF4-FFF2-40B4-BE49-F238E27FC236}">
                <a16:creationId xmlns:a16="http://schemas.microsoft.com/office/drawing/2014/main" id="{38CC35B7-7F02-B941-A370-376CD60D8FD0}"/>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5C8672B9-8DFE-21DE-D66C-D147E4B826BF}"/>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A8A34122-56EC-F352-D73B-2D45A1E7F2E1}"/>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14B7B400-46BB-5B96-87CC-231336D4FB5E}"/>
              </a:ext>
            </a:extLst>
          </p:cNvPr>
          <p:cNvGraphicFramePr>
            <a:graphicFrameLocks noGrp="1"/>
          </p:cNvGraphicFramePr>
          <p:nvPr>
            <p:extLst>
              <p:ext uri="{D42A27DB-BD31-4B8C-83A1-F6EECF244321}">
                <p14:modId xmlns:p14="http://schemas.microsoft.com/office/powerpoint/2010/main" val="96233226"/>
              </p:ext>
            </p:extLst>
          </p:nvPr>
        </p:nvGraphicFramePr>
        <p:xfrm>
          <a:off x="543331" y="1131888"/>
          <a:ext cx="303523" cy="1724763"/>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7" name="C2">
            <a:extLst>
              <a:ext uri="{FF2B5EF4-FFF2-40B4-BE49-F238E27FC236}">
                <a16:creationId xmlns:a16="http://schemas.microsoft.com/office/drawing/2014/main" id="{0613F4CC-2F1F-C5A5-BDE8-AA9221D44A00}"/>
              </a:ext>
            </a:extLst>
          </p:cNvPr>
          <p:cNvGraphicFramePr>
            <a:graphicFrameLocks/>
          </p:cNvGraphicFramePr>
          <p:nvPr>
            <p:extLst>
              <p:ext uri="{D42A27DB-BD31-4B8C-83A1-F6EECF244321}">
                <p14:modId xmlns:p14="http://schemas.microsoft.com/office/powerpoint/2010/main" val="3918470"/>
              </p:ext>
            </p:extLst>
          </p:nvPr>
        </p:nvGraphicFramePr>
        <p:xfrm>
          <a:off x="940093" y="1104344"/>
          <a:ext cx="7740000" cy="19259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357649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9E8954-1515-D7C7-CADE-697E5B1B6CF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1E7C470-70FD-74A4-7110-38731C308BE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A31311B7-7F72-87F6-55E7-1BC91CD3C2E7}"/>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9/19/2025</a:t>
            </a:fld>
            <a:endParaRPr lang="en-US" noProof="0"/>
          </a:p>
        </p:txBody>
      </p:sp>
      <p:sp>
        <p:nvSpPr>
          <p:cNvPr id="4" name="Footer" hidden="1">
            <a:extLst>
              <a:ext uri="{FF2B5EF4-FFF2-40B4-BE49-F238E27FC236}">
                <a16:creationId xmlns:a16="http://schemas.microsoft.com/office/drawing/2014/main" id="{5457E92C-FE8F-068A-AB01-8E89F7BC9259}"/>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D3DAB0AB-0BA9-EB58-0EDC-64D2F6D79EC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15" name="Data Source">
            <a:extLst>
              <a:ext uri="{FF2B5EF4-FFF2-40B4-BE49-F238E27FC236}">
                <a16:creationId xmlns:a16="http://schemas.microsoft.com/office/drawing/2014/main" id="{ADE960CF-89BD-5FBC-2BEA-F1C9A35B7B89}"/>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F9773734-2E19-E380-3F9E-EAD09C6E5058}"/>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F980C054-4AD2-36DA-DF8D-72F9EAC5DF19}"/>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FD3FCF59-4D3D-63C9-1DFC-522E85B6F473}"/>
              </a:ext>
            </a:extLst>
          </p:cNvPr>
          <p:cNvGraphicFramePr>
            <a:graphicFrameLocks noGrp="1"/>
          </p:cNvGraphicFramePr>
          <p:nvPr>
            <p:extLst>
              <p:ext uri="{D42A27DB-BD31-4B8C-83A1-F6EECF244321}">
                <p14:modId xmlns:p14="http://schemas.microsoft.com/office/powerpoint/2010/main" val="1035235721"/>
              </p:ext>
            </p:extLst>
          </p:nvPr>
        </p:nvGraphicFramePr>
        <p:xfrm>
          <a:off x="543331" y="1131888"/>
          <a:ext cx="303523" cy="3449526"/>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fontAlgn="b"/>
                      <a:r>
                        <a:rPr lang="en-US" sz="800" b="0" kern="1200" dirty="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1724763">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26" name="C2">
            <a:extLst>
              <a:ext uri="{FF2B5EF4-FFF2-40B4-BE49-F238E27FC236}">
                <a16:creationId xmlns:a16="http://schemas.microsoft.com/office/drawing/2014/main" id="{C9AD43ED-F4F6-AE24-ED0E-A55367C3D320}"/>
              </a:ext>
            </a:extLst>
          </p:cNvPr>
          <p:cNvGraphicFramePr>
            <a:graphicFrameLocks/>
          </p:cNvGraphicFramePr>
          <p:nvPr>
            <p:extLst>
              <p:ext uri="{D42A27DB-BD31-4B8C-83A1-F6EECF244321}">
                <p14:modId xmlns:p14="http://schemas.microsoft.com/office/powerpoint/2010/main" val="3145327643"/>
              </p:ext>
            </p:extLst>
          </p:nvPr>
        </p:nvGraphicFramePr>
        <p:xfrm>
          <a:off x="899999" y="1131887"/>
          <a:ext cx="7740000" cy="172061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2">
            <a:extLst>
              <a:ext uri="{FF2B5EF4-FFF2-40B4-BE49-F238E27FC236}">
                <a16:creationId xmlns:a16="http://schemas.microsoft.com/office/drawing/2014/main" id="{5EA9E6B5-135B-7DC7-61F1-7E527BE5562D}"/>
              </a:ext>
            </a:extLst>
          </p:cNvPr>
          <p:cNvGraphicFramePr>
            <a:graphicFrameLocks/>
          </p:cNvGraphicFramePr>
          <p:nvPr>
            <p:extLst>
              <p:ext uri="{D42A27DB-BD31-4B8C-83A1-F6EECF244321}">
                <p14:modId xmlns:p14="http://schemas.microsoft.com/office/powerpoint/2010/main" val="355700526"/>
              </p:ext>
            </p:extLst>
          </p:nvPr>
        </p:nvGraphicFramePr>
        <p:xfrm>
          <a:off x="907981" y="2853850"/>
          <a:ext cx="7740000" cy="1925969"/>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8479345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D0AF88-84F4-2869-DECA-6EE31CA33F0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4C8AD0F-9180-3EAB-01FE-653B32642F4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632914CD-B2C7-F3EB-98CC-C16BD3795F41}"/>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9/19/2025</a:t>
            </a:fld>
            <a:endParaRPr lang="en-US" noProof="0"/>
          </a:p>
        </p:txBody>
      </p:sp>
      <p:sp>
        <p:nvSpPr>
          <p:cNvPr id="4" name="Footer" hidden="1">
            <a:extLst>
              <a:ext uri="{FF2B5EF4-FFF2-40B4-BE49-F238E27FC236}">
                <a16:creationId xmlns:a16="http://schemas.microsoft.com/office/drawing/2014/main" id="{E2E8F52B-FAE2-3582-90CF-32EC79D3A279}"/>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0C4E2ED9-2DD2-0F1D-6A5E-8DFBE65B9B5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15" name="Data Source">
            <a:extLst>
              <a:ext uri="{FF2B5EF4-FFF2-40B4-BE49-F238E27FC236}">
                <a16:creationId xmlns:a16="http://schemas.microsoft.com/office/drawing/2014/main" id="{2892DBE4-D9CE-54D1-8585-D34CF596078B}"/>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1DE27DA8-5DB0-BC4B-9F42-DEC01F942BDA}"/>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60F5EE99-9B67-4A7C-5AC0-9C69771267AC}"/>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44E7D6A7-2517-1924-D21E-A75D83E57D55}"/>
              </a:ext>
            </a:extLst>
          </p:cNvPr>
          <p:cNvGraphicFramePr>
            <a:graphicFrameLocks noGrp="1"/>
          </p:cNvGraphicFramePr>
          <p:nvPr>
            <p:extLst>
              <p:ext uri="{D42A27DB-BD31-4B8C-83A1-F6EECF244321}">
                <p14:modId xmlns:p14="http://schemas.microsoft.com/office/powerpoint/2010/main" val="44401082"/>
              </p:ext>
            </p:extLst>
          </p:nvPr>
        </p:nvGraphicFramePr>
        <p:xfrm>
          <a:off x="543331" y="1131888"/>
          <a:ext cx="303523" cy="3237612"/>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079204">
                <a:tc>
                  <a:txBody>
                    <a:bodyPr/>
                    <a:lstStyle/>
                    <a:p>
                      <a:pPr algn="ctr" fontAlgn="b"/>
                      <a:r>
                        <a:rPr lang="en-US" sz="800" b="0" kern="1200" dirty="0">
                          <a:solidFill>
                            <a:srgbClr val="575555"/>
                          </a:solidFill>
                          <a:latin typeface="Nexa Bold"/>
                          <a:ea typeface="+mn-ea"/>
                          <a:cs typeface="+mn-cs"/>
                        </a:rPr>
                        <a:t>Big PET</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1079204">
                <a:tc>
                  <a:txBody>
                    <a:bodyPr/>
                    <a:lstStyle/>
                    <a:p>
                      <a:pPr algn="ctr" fontAlgn="b"/>
                      <a:r>
                        <a:rPr lang="en-US" sz="800" b="0" kern="120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1079204">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18" name="C2">
            <a:extLst>
              <a:ext uri="{FF2B5EF4-FFF2-40B4-BE49-F238E27FC236}">
                <a16:creationId xmlns:a16="http://schemas.microsoft.com/office/drawing/2014/main" id="{71E6DCF7-1A98-55BE-A118-CCB61BFA1677}"/>
              </a:ext>
            </a:extLst>
          </p:cNvPr>
          <p:cNvGraphicFramePr>
            <a:graphicFrameLocks/>
          </p:cNvGraphicFramePr>
          <p:nvPr>
            <p:extLst>
              <p:ext uri="{D42A27DB-BD31-4B8C-83A1-F6EECF244321}">
                <p14:modId xmlns:p14="http://schemas.microsoft.com/office/powerpoint/2010/main" val="3203492051"/>
              </p:ext>
            </p:extLst>
          </p:nvPr>
        </p:nvGraphicFramePr>
        <p:xfrm>
          <a:off x="907981" y="1190100"/>
          <a:ext cx="7740000" cy="98019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6" name="C2">
            <a:extLst>
              <a:ext uri="{FF2B5EF4-FFF2-40B4-BE49-F238E27FC236}">
                <a16:creationId xmlns:a16="http://schemas.microsoft.com/office/drawing/2014/main" id="{911CF36C-1A7B-4AFC-C29D-445ACA239949}"/>
              </a:ext>
            </a:extLst>
          </p:cNvPr>
          <p:cNvGraphicFramePr>
            <a:graphicFrameLocks/>
          </p:cNvGraphicFramePr>
          <p:nvPr>
            <p:extLst>
              <p:ext uri="{D42A27DB-BD31-4B8C-83A1-F6EECF244321}">
                <p14:modId xmlns:p14="http://schemas.microsoft.com/office/powerpoint/2010/main" val="4171023131"/>
              </p:ext>
            </p:extLst>
          </p:nvPr>
        </p:nvGraphicFramePr>
        <p:xfrm>
          <a:off x="907981" y="2226391"/>
          <a:ext cx="7740000" cy="8839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2">
            <a:extLst>
              <a:ext uri="{FF2B5EF4-FFF2-40B4-BE49-F238E27FC236}">
                <a16:creationId xmlns:a16="http://schemas.microsoft.com/office/drawing/2014/main" id="{8045044B-F89E-09A8-5E36-8D8608CD8A9F}"/>
              </a:ext>
            </a:extLst>
          </p:cNvPr>
          <p:cNvGraphicFramePr>
            <a:graphicFrameLocks/>
          </p:cNvGraphicFramePr>
          <p:nvPr>
            <p:extLst>
              <p:ext uri="{D42A27DB-BD31-4B8C-83A1-F6EECF244321}">
                <p14:modId xmlns:p14="http://schemas.microsoft.com/office/powerpoint/2010/main" val="1582608468"/>
              </p:ext>
            </p:extLst>
          </p:nvPr>
        </p:nvGraphicFramePr>
        <p:xfrm>
          <a:off x="907981" y="3277698"/>
          <a:ext cx="7740000" cy="145505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914466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D5202D-A6C3-32ED-9277-F1702C91ADE4}"/>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A9A04BAD-47BC-2298-1C16-B4C36E5DCAA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A7EF4ADA-B7D7-369C-A15C-4B55E08410F1}"/>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9/19/2025</a:t>
            </a:fld>
            <a:endParaRPr lang="en-US" noProof="0"/>
          </a:p>
        </p:txBody>
      </p:sp>
      <p:sp>
        <p:nvSpPr>
          <p:cNvPr id="4" name="Footer" hidden="1">
            <a:extLst>
              <a:ext uri="{FF2B5EF4-FFF2-40B4-BE49-F238E27FC236}">
                <a16:creationId xmlns:a16="http://schemas.microsoft.com/office/drawing/2014/main" id="{678C2E9D-5AF4-53D6-B317-3A070178575E}"/>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08E811E2-3B37-F4EB-21D5-6CED2A47B20C}"/>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15" name="Data Source">
            <a:extLst>
              <a:ext uri="{FF2B5EF4-FFF2-40B4-BE49-F238E27FC236}">
                <a16:creationId xmlns:a16="http://schemas.microsoft.com/office/drawing/2014/main" id="{89910504-1DAA-5B13-AAC8-EE6F2AE94A85}"/>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8DE4D359-B6FF-DFAA-C099-A1C1B7AAA676}"/>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F6C45166-D38E-1C96-444C-127C8300032B}"/>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81483C84-291D-696C-5801-C6D78552189A}"/>
              </a:ext>
            </a:extLst>
          </p:cNvPr>
          <p:cNvGraphicFramePr>
            <a:graphicFrameLocks noGrp="1"/>
          </p:cNvGraphicFramePr>
          <p:nvPr>
            <p:extLst>
              <p:ext uri="{D42A27DB-BD31-4B8C-83A1-F6EECF244321}">
                <p14:modId xmlns:p14="http://schemas.microsoft.com/office/powerpoint/2010/main" val="306748637"/>
              </p:ext>
            </p:extLst>
          </p:nvPr>
        </p:nvGraphicFramePr>
        <p:xfrm>
          <a:off x="543331" y="1131888"/>
          <a:ext cx="303523" cy="3449528"/>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862382">
                <a:tc>
                  <a:txBody>
                    <a:bodyPr/>
                    <a:lstStyle/>
                    <a:p>
                      <a:pPr algn="ctr" fontAlgn="b"/>
                      <a:r>
                        <a:rPr lang="en-US" sz="800" b="0" kern="1200" dirty="0">
                          <a:solidFill>
                            <a:srgbClr val="575555"/>
                          </a:solidFill>
                          <a:latin typeface="Nexa Bold"/>
                          <a:ea typeface="+mn-ea"/>
                          <a:cs typeface="+mn-cs"/>
                        </a:rPr>
                        <a:t> Can</a:t>
                      </a:r>
                    </a:p>
                  </a:txBody>
                  <a:tcPr marL="4763" marR="4763" marT="4763" marB="0" vert="vert270" anchor="ctr">
                    <a:solidFill>
                      <a:schemeClr val="bg1">
                        <a:lumMod val="95000"/>
                      </a:schemeClr>
                    </a:solidFill>
                  </a:tcPr>
                </a:tc>
                <a:extLst>
                  <a:ext uri="{0D108BD9-81ED-4DB2-BD59-A6C34878D82A}">
                    <a16:rowId xmlns:a16="http://schemas.microsoft.com/office/drawing/2014/main" val="1323519937"/>
                  </a:ext>
                </a:extLst>
              </a:tr>
              <a:tr h="862382">
                <a:tc>
                  <a:txBody>
                    <a:bodyPr/>
                    <a:lstStyle/>
                    <a:p>
                      <a:pPr algn="ctr" fontAlgn="b"/>
                      <a:r>
                        <a:rPr lang="en-US" sz="800" b="0" kern="1200">
                          <a:solidFill>
                            <a:srgbClr val="575555"/>
                          </a:solidFill>
                          <a:latin typeface="Nexa Bold"/>
                          <a:ea typeface="+mn-ea"/>
                          <a:cs typeface="+mn-cs"/>
                        </a:rPr>
                        <a:t>Big PET</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862382">
                <a:tc>
                  <a:txBody>
                    <a:bodyPr/>
                    <a:lstStyle/>
                    <a:p>
                      <a:pPr algn="ctr" fontAlgn="b"/>
                      <a:r>
                        <a:rPr lang="en-US" sz="800" b="0" kern="120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862382">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7" name="C2">
            <a:extLst>
              <a:ext uri="{FF2B5EF4-FFF2-40B4-BE49-F238E27FC236}">
                <a16:creationId xmlns:a16="http://schemas.microsoft.com/office/drawing/2014/main" id="{C57BF963-75C8-3509-DF34-736E47CD2177}"/>
              </a:ext>
            </a:extLst>
          </p:cNvPr>
          <p:cNvGraphicFramePr>
            <a:graphicFrameLocks/>
          </p:cNvGraphicFramePr>
          <p:nvPr>
            <p:extLst>
              <p:ext uri="{D42A27DB-BD31-4B8C-83A1-F6EECF244321}">
                <p14:modId xmlns:p14="http://schemas.microsoft.com/office/powerpoint/2010/main" val="1633204920"/>
              </p:ext>
            </p:extLst>
          </p:nvPr>
        </p:nvGraphicFramePr>
        <p:xfrm>
          <a:off x="905321" y="1131888"/>
          <a:ext cx="7740000" cy="82973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C2">
            <a:extLst>
              <a:ext uri="{FF2B5EF4-FFF2-40B4-BE49-F238E27FC236}">
                <a16:creationId xmlns:a16="http://schemas.microsoft.com/office/drawing/2014/main" id="{EF638191-9AD3-F53C-53D9-07617BF27424}"/>
              </a:ext>
            </a:extLst>
          </p:cNvPr>
          <p:cNvGraphicFramePr>
            <a:graphicFrameLocks/>
          </p:cNvGraphicFramePr>
          <p:nvPr>
            <p:extLst>
              <p:ext uri="{D42A27DB-BD31-4B8C-83A1-F6EECF244321}">
                <p14:modId xmlns:p14="http://schemas.microsoft.com/office/powerpoint/2010/main" val="974424976"/>
              </p:ext>
            </p:extLst>
          </p:nvPr>
        </p:nvGraphicFramePr>
        <p:xfrm>
          <a:off x="899999" y="1966133"/>
          <a:ext cx="7740000" cy="88150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2">
            <a:extLst>
              <a:ext uri="{FF2B5EF4-FFF2-40B4-BE49-F238E27FC236}">
                <a16:creationId xmlns:a16="http://schemas.microsoft.com/office/drawing/2014/main" id="{12FB3567-7AEE-DDCE-0F01-65DD58CA4903}"/>
              </a:ext>
            </a:extLst>
          </p:cNvPr>
          <p:cNvGraphicFramePr>
            <a:graphicFrameLocks/>
          </p:cNvGraphicFramePr>
          <p:nvPr>
            <p:extLst>
              <p:ext uri="{D42A27DB-BD31-4B8C-83A1-F6EECF244321}">
                <p14:modId xmlns:p14="http://schemas.microsoft.com/office/powerpoint/2010/main" val="3691157756"/>
              </p:ext>
            </p:extLst>
          </p:nvPr>
        </p:nvGraphicFramePr>
        <p:xfrm>
          <a:off x="907981" y="2852145"/>
          <a:ext cx="7740000" cy="83845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8" name="C2">
            <a:extLst>
              <a:ext uri="{FF2B5EF4-FFF2-40B4-BE49-F238E27FC236}">
                <a16:creationId xmlns:a16="http://schemas.microsoft.com/office/drawing/2014/main" id="{64B9AD7D-6434-9BA5-BAEF-8937575651AC}"/>
              </a:ext>
            </a:extLst>
          </p:cNvPr>
          <p:cNvGraphicFramePr>
            <a:graphicFrameLocks/>
          </p:cNvGraphicFramePr>
          <p:nvPr>
            <p:extLst>
              <p:ext uri="{D42A27DB-BD31-4B8C-83A1-F6EECF244321}">
                <p14:modId xmlns:p14="http://schemas.microsoft.com/office/powerpoint/2010/main" val="1504638670"/>
              </p:ext>
            </p:extLst>
          </p:nvPr>
        </p:nvGraphicFramePr>
        <p:xfrm>
          <a:off x="902660" y="3695102"/>
          <a:ext cx="7740000" cy="1037654"/>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4446630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30655E-8CB4-1D8A-2F67-11036FB1C531}"/>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A31CD73C-E590-EB05-5ED8-56326A9D19A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5CF5C216-E226-2145-E009-09D6B5104631}"/>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9/19/2025</a:t>
            </a:fld>
            <a:endParaRPr lang="en-US" noProof="0"/>
          </a:p>
        </p:txBody>
      </p:sp>
      <p:sp>
        <p:nvSpPr>
          <p:cNvPr id="4" name="Footer" hidden="1">
            <a:extLst>
              <a:ext uri="{FF2B5EF4-FFF2-40B4-BE49-F238E27FC236}">
                <a16:creationId xmlns:a16="http://schemas.microsoft.com/office/drawing/2014/main" id="{1A9E1F83-6D9E-3659-4EE6-D57E161E532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8D7ED125-994F-1785-565C-E7812D951FD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15" name="Data Source">
            <a:extLst>
              <a:ext uri="{FF2B5EF4-FFF2-40B4-BE49-F238E27FC236}">
                <a16:creationId xmlns:a16="http://schemas.microsoft.com/office/drawing/2014/main" id="{F02DADCC-9D3D-E6AF-CDD0-F77F2E475948}"/>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0E6457AB-1F75-EDF5-28B3-59703DC43C13}"/>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3B2A807A-B447-E219-9089-DFE5CD3E5824}"/>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D2771134-BE5D-B1B3-276E-D11D4EFD762C}"/>
              </a:ext>
            </a:extLst>
          </p:cNvPr>
          <p:cNvGraphicFramePr>
            <a:graphicFrameLocks noGrp="1"/>
          </p:cNvGraphicFramePr>
          <p:nvPr>
            <p:extLst>
              <p:ext uri="{D42A27DB-BD31-4B8C-83A1-F6EECF244321}">
                <p14:modId xmlns:p14="http://schemas.microsoft.com/office/powerpoint/2010/main" val="1862000568"/>
              </p:ext>
            </p:extLst>
          </p:nvPr>
        </p:nvGraphicFramePr>
        <p:xfrm>
          <a:off x="543331" y="1131888"/>
          <a:ext cx="303523" cy="3449525"/>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689905">
                <a:tc>
                  <a:txBody>
                    <a:bodyPr/>
                    <a:lstStyle/>
                    <a:p>
                      <a:pPr algn="ctr" fontAlgn="b"/>
                      <a:r>
                        <a:rPr lang="en-US" sz="800" b="0" kern="1200" dirty="0">
                          <a:solidFill>
                            <a:srgbClr val="575555"/>
                          </a:solidFill>
                          <a:latin typeface="Nexa Bold"/>
                          <a:ea typeface="+mn-ea"/>
                          <a:cs typeface="+mn-cs"/>
                        </a:rPr>
                        <a:t>NRGB</a:t>
                      </a:r>
                    </a:p>
                  </a:txBody>
                  <a:tcPr marL="4763" marR="4763" marT="4763" marB="0" vert="vert270" anchor="ctr">
                    <a:solidFill>
                      <a:schemeClr val="bg1">
                        <a:lumMod val="95000"/>
                      </a:schemeClr>
                    </a:solidFill>
                  </a:tcPr>
                </a:tc>
                <a:extLst>
                  <a:ext uri="{0D108BD9-81ED-4DB2-BD59-A6C34878D82A}">
                    <a16:rowId xmlns:a16="http://schemas.microsoft.com/office/drawing/2014/main" val="3908580997"/>
                  </a:ext>
                </a:extLst>
              </a:tr>
              <a:tr h="689905">
                <a:tc>
                  <a:txBody>
                    <a:bodyPr/>
                    <a:lstStyle/>
                    <a:p>
                      <a:pPr algn="ctr" fontAlgn="b"/>
                      <a:r>
                        <a:rPr lang="en-US" sz="800" b="0" kern="1200" dirty="0">
                          <a:solidFill>
                            <a:srgbClr val="575555"/>
                          </a:solidFill>
                          <a:latin typeface="Nexa Bold"/>
                          <a:ea typeface="+mn-ea"/>
                          <a:cs typeface="+mn-cs"/>
                        </a:rPr>
                        <a:t> Can</a:t>
                      </a:r>
                    </a:p>
                  </a:txBody>
                  <a:tcPr marL="4763" marR="4763" marT="4763" marB="0" vert="vert270" anchor="ctr">
                    <a:solidFill>
                      <a:schemeClr val="bg1">
                        <a:lumMod val="95000"/>
                      </a:schemeClr>
                    </a:solidFill>
                  </a:tcPr>
                </a:tc>
                <a:extLst>
                  <a:ext uri="{0D108BD9-81ED-4DB2-BD59-A6C34878D82A}">
                    <a16:rowId xmlns:a16="http://schemas.microsoft.com/office/drawing/2014/main" val="1323519937"/>
                  </a:ext>
                </a:extLst>
              </a:tr>
              <a:tr h="689905">
                <a:tc>
                  <a:txBody>
                    <a:bodyPr/>
                    <a:lstStyle/>
                    <a:p>
                      <a:pPr algn="ctr" fontAlgn="b"/>
                      <a:r>
                        <a:rPr lang="en-US" sz="800" b="0" kern="1200">
                          <a:solidFill>
                            <a:srgbClr val="575555"/>
                          </a:solidFill>
                          <a:latin typeface="Nexa Bold"/>
                          <a:ea typeface="+mn-ea"/>
                          <a:cs typeface="+mn-cs"/>
                        </a:rPr>
                        <a:t>Big PET</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689905">
                <a:tc>
                  <a:txBody>
                    <a:bodyPr/>
                    <a:lstStyle/>
                    <a:p>
                      <a:pPr algn="ctr" fontAlgn="b"/>
                      <a:r>
                        <a:rPr lang="en-US" sz="800" b="0" kern="120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689905">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17" name="C2">
            <a:extLst>
              <a:ext uri="{FF2B5EF4-FFF2-40B4-BE49-F238E27FC236}">
                <a16:creationId xmlns:a16="http://schemas.microsoft.com/office/drawing/2014/main" id="{B9DFD641-2D89-817B-F509-F81D8C8D4FDC}"/>
              </a:ext>
            </a:extLst>
          </p:cNvPr>
          <p:cNvGraphicFramePr>
            <a:graphicFrameLocks/>
          </p:cNvGraphicFramePr>
          <p:nvPr>
            <p:extLst>
              <p:ext uri="{D42A27DB-BD31-4B8C-83A1-F6EECF244321}">
                <p14:modId xmlns:p14="http://schemas.microsoft.com/office/powerpoint/2010/main" val="2741958359"/>
              </p:ext>
            </p:extLst>
          </p:nvPr>
        </p:nvGraphicFramePr>
        <p:xfrm>
          <a:off x="907980" y="1158059"/>
          <a:ext cx="7740000" cy="58579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8" name="C2">
            <a:extLst>
              <a:ext uri="{FF2B5EF4-FFF2-40B4-BE49-F238E27FC236}">
                <a16:creationId xmlns:a16="http://schemas.microsoft.com/office/drawing/2014/main" id="{F28A4806-C4BC-CDEF-FEF0-6680E060DD1E}"/>
              </a:ext>
            </a:extLst>
          </p:cNvPr>
          <p:cNvGraphicFramePr>
            <a:graphicFrameLocks/>
          </p:cNvGraphicFramePr>
          <p:nvPr>
            <p:extLst>
              <p:ext uri="{D42A27DB-BD31-4B8C-83A1-F6EECF244321}">
                <p14:modId xmlns:p14="http://schemas.microsoft.com/office/powerpoint/2010/main" val="3213097543"/>
              </p:ext>
            </p:extLst>
          </p:nvPr>
        </p:nvGraphicFramePr>
        <p:xfrm>
          <a:off x="907980" y="2584624"/>
          <a:ext cx="7740000" cy="55663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5" name="C2">
            <a:extLst>
              <a:ext uri="{FF2B5EF4-FFF2-40B4-BE49-F238E27FC236}">
                <a16:creationId xmlns:a16="http://schemas.microsoft.com/office/drawing/2014/main" id="{62D25DF2-0ECE-3D25-96A0-9A016CFBBAE8}"/>
              </a:ext>
            </a:extLst>
          </p:cNvPr>
          <p:cNvGraphicFramePr>
            <a:graphicFrameLocks/>
          </p:cNvGraphicFramePr>
          <p:nvPr>
            <p:extLst>
              <p:ext uri="{D42A27DB-BD31-4B8C-83A1-F6EECF244321}">
                <p14:modId xmlns:p14="http://schemas.microsoft.com/office/powerpoint/2010/main" val="4195248072"/>
              </p:ext>
            </p:extLst>
          </p:nvPr>
        </p:nvGraphicFramePr>
        <p:xfrm>
          <a:off x="886947" y="1886858"/>
          <a:ext cx="7740000" cy="55663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6" name="C2">
            <a:extLst>
              <a:ext uri="{FF2B5EF4-FFF2-40B4-BE49-F238E27FC236}">
                <a16:creationId xmlns:a16="http://schemas.microsoft.com/office/drawing/2014/main" id="{6A8C2FF1-FD36-C88F-E856-58E4D7A8DBB2}"/>
              </a:ext>
            </a:extLst>
          </p:cNvPr>
          <p:cNvGraphicFramePr>
            <a:graphicFrameLocks/>
          </p:cNvGraphicFramePr>
          <p:nvPr>
            <p:extLst>
              <p:ext uri="{D42A27DB-BD31-4B8C-83A1-F6EECF244321}">
                <p14:modId xmlns:p14="http://schemas.microsoft.com/office/powerpoint/2010/main" val="2982863668"/>
              </p:ext>
            </p:extLst>
          </p:nvPr>
        </p:nvGraphicFramePr>
        <p:xfrm>
          <a:off x="907980" y="3290250"/>
          <a:ext cx="7740000" cy="597096"/>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C2">
            <a:extLst>
              <a:ext uri="{FF2B5EF4-FFF2-40B4-BE49-F238E27FC236}">
                <a16:creationId xmlns:a16="http://schemas.microsoft.com/office/drawing/2014/main" id="{511B7199-E6F3-F60A-0FF1-398C39B9385A}"/>
              </a:ext>
            </a:extLst>
          </p:cNvPr>
          <p:cNvGraphicFramePr>
            <a:graphicFrameLocks/>
          </p:cNvGraphicFramePr>
          <p:nvPr>
            <p:extLst>
              <p:ext uri="{D42A27DB-BD31-4B8C-83A1-F6EECF244321}">
                <p14:modId xmlns:p14="http://schemas.microsoft.com/office/powerpoint/2010/main" val="2319801538"/>
              </p:ext>
            </p:extLst>
          </p:nvPr>
        </p:nvGraphicFramePr>
        <p:xfrm>
          <a:off x="907980" y="3935405"/>
          <a:ext cx="7740000" cy="750642"/>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6449181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AB83FA-25E7-DE07-8B53-04BAFD151C58}"/>
            </a:ext>
          </a:extLst>
        </p:cNvPr>
        <p:cNvGrpSpPr/>
        <p:nvPr/>
      </p:nvGrpSpPr>
      <p:grpSpPr>
        <a:xfrm>
          <a:off x="0" y="0"/>
          <a:ext cx="0" cy="0"/>
          <a:chOff x="0" y="0"/>
          <a:chExt cx="0" cy="0"/>
        </a:xfrm>
      </p:grpSpPr>
      <p:graphicFrame>
        <p:nvGraphicFramePr>
          <p:cNvPr id="9" name="C2">
            <a:extLst>
              <a:ext uri="{FF2B5EF4-FFF2-40B4-BE49-F238E27FC236}">
                <a16:creationId xmlns:a16="http://schemas.microsoft.com/office/drawing/2014/main" id="{BE678AEC-A4B5-C9F9-80CE-D7E32C488EBE}"/>
              </a:ext>
            </a:extLst>
          </p:cNvPr>
          <p:cNvGraphicFramePr>
            <a:graphicFrameLocks/>
          </p:cNvGraphicFramePr>
          <p:nvPr/>
        </p:nvGraphicFramePr>
        <p:xfrm>
          <a:off x="907979" y="1138960"/>
          <a:ext cx="7740000" cy="58579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think-cell data - do not delete" hidden="1">
            <a:extLst>
              <a:ext uri="{FF2B5EF4-FFF2-40B4-BE49-F238E27FC236}">
                <a16:creationId xmlns:a16="http://schemas.microsoft.com/office/drawing/2014/main" id="{9EEAC255-6727-4085-14F1-21E806920E3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883A24B6-D0A1-39B1-D984-08A87E034EF5}"/>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9/19/2025</a:t>
            </a:fld>
            <a:endParaRPr lang="en-US" noProof="0"/>
          </a:p>
        </p:txBody>
      </p:sp>
      <p:sp>
        <p:nvSpPr>
          <p:cNvPr id="4" name="Footer" hidden="1">
            <a:extLst>
              <a:ext uri="{FF2B5EF4-FFF2-40B4-BE49-F238E27FC236}">
                <a16:creationId xmlns:a16="http://schemas.microsoft.com/office/drawing/2014/main" id="{EC2C6277-90AE-34F1-0B49-8ACE302DD9FD}"/>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0EC90219-A7DE-540F-C396-DE4AEAA21E4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15" name="Data Source">
            <a:extLst>
              <a:ext uri="{FF2B5EF4-FFF2-40B4-BE49-F238E27FC236}">
                <a16:creationId xmlns:a16="http://schemas.microsoft.com/office/drawing/2014/main" id="{B96ABA59-59CE-92E3-B26E-33B3646BE579}"/>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00F15F92-1E72-AF73-7DFB-9675DBA7F295}"/>
              </a:ext>
            </a:extLst>
          </p:cNvPr>
          <p:cNvSpPr>
            <a:spLocks noGrp="1"/>
          </p:cNvSpPr>
          <p:nvPr>
            <p:ph type="body" sz="quarter" idx="18"/>
          </p:nvPr>
        </p:nvSpPr>
        <p:spPr>
          <a:xfrm>
            <a:off x="503238" y="774000"/>
            <a:ext cx="8136762" cy="360000"/>
          </a:xfrm>
        </p:spPr>
        <p:txBody>
          <a:bodyPr/>
          <a:lstStyle/>
          <a:p>
            <a:r>
              <a:rPr lang="en-US" dirty="0"/>
              <a:t>Seasonality Index | By Sector | National | P3Y</a:t>
            </a:r>
          </a:p>
        </p:txBody>
      </p:sp>
      <p:sp>
        <p:nvSpPr>
          <p:cNvPr id="10" name="Title">
            <a:extLst>
              <a:ext uri="{FF2B5EF4-FFF2-40B4-BE49-F238E27FC236}">
                <a16:creationId xmlns:a16="http://schemas.microsoft.com/office/drawing/2014/main" id="{282858EF-8996-5EED-CB80-83A6E21B8CB3}"/>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DAE7F43B-898E-480F-59F3-2AF75BCF1981}"/>
              </a:ext>
            </a:extLst>
          </p:cNvPr>
          <p:cNvGraphicFramePr>
            <a:graphicFrameLocks noGrp="1"/>
          </p:cNvGraphicFramePr>
          <p:nvPr/>
        </p:nvGraphicFramePr>
        <p:xfrm>
          <a:off x="543331" y="1131888"/>
          <a:ext cx="303523" cy="3449526"/>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574921">
                <a:tc>
                  <a:txBody>
                    <a:bodyPr/>
                    <a:lstStyle/>
                    <a:p>
                      <a:pPr algn="ctr" fontAlgn="b"/>
                      <a:r>
                        <a:rPr lang="en-US" sz="800" b="0" kern="1200">
                          <a:solidFill>
                            <a:srgbClr val="575555"/>
                          </a:solidFill>
                          <a:latin typeface="Nexa Bold"/>
                          <a:ea typeface="+mn-ea"/>
                          <a:cs typeface="+mn-cs"/>
                        </a:rPr>
                        <a:t>Beer</a:t>
                      </a:r>
                    </a:p>
                  </a:txBody>
                  <a:tcPr marL="4763" marR="4763" marT="4763" marB="0" vert="vert270" anchor="ctr">
                    <a:solidFill>
                      <a:schemeClr val="bg1">
                        <a:lumMod val="95000"/>
                      </a:schemeClr>
                    </a:solidFill>
                  </a:tcPr>
                </a:tc>
                <a:extLst>
                  <a:ext uri="{0D108BD9-81ED-4DB2-BD59-A6C34878D82A}">
                    <a16:rowId xmlns:a16="http://schemas.microsoft.com/office/drawing/2014/main" val="2185244123"/>
                  </a:ext>
                </a:extLst>
              </a:tr>
              <a:tr h="574921">
                <a:tc>
                  <a:txBody>
                    <a:bodyPr/>
                    <a:lstStyle/>
                    <a:p>
                      <a:pPr algn="ctr" fontAlgn="b"/>
                      <a:r>
                        <a:rPr lang="en-US" sz="800" b="0" kern="1200">
                          <a:solidFill>
                            <a:srgbClr val="575555"/>
                          </a:solidFill>
                          <a:latin typeface="Nexa Bold"/>
                          <a:ea typeface="+mn-ea"/>
                          <a:cs typeface="+mn-cs"/>
                        </a:rPr>
                        <a:t>NRGB</a:t>
                      </a:r>
                    </a:p>
                  </a:txBody>
                  <a:tcPr marL="4763" marR="4763" marT="4763" marB="0" vert="vert270" anchor="ctr">
                    <a:solidFill>
                      <a:schemeClr val="bg1">
                        <a:lumMod val="95000"/>
                      </a:schemeClr>
                    </a:solidFill>
                  </a:tcPr>
                </a:tc>
                <a:extLst>
                  <a:ext uri="{0D108BD9-81ED-4DB2-BD59-A6C34878D82A}">
                    <a16:rowId xmlns:a16="http://schemas.microsoft.com/office/drawing/2014/main" val="3908580997"/>
                  </a:ext>
                </a:extLst>
              </a:tr>
              <a:tr h="574921">
                <a:tc>
                  <a:txBody>
                    <a:bodyPr/>
                    <a:lstStyle/>
                    <a:p>
                      <a:pPr algn="ctr" fontAlgn="b"/>
                      <a:r>
                        <a:rPr lang="en-US" sz="800" b="0" kern="1200">
                          <a:solidFill>
                            <a:srgbClr val="575555"/>
                          </a:solidFill>
                          <a:latin typeface="Nexa Bold"/>
                          <a:ea typeface="+mn-ea"/>
                          <a:cs typeface="+mn-cs"/>
                        </a:rPr>
                        <a:t> Can</a:t>
                      </a:r>
                    </a:p>
                  </a:txBody>
                  <a:tcPr marL="4763" marR="4763" marT="4763" marB="0" vert="vert270" anchor="ctr">
                    <a:solidFill>
                      <a:schemeClr val="bg1">
                        <a:lumMod val="95000"/>
                      </a:schemeClr>
                    </a:solidFill>
                  </a:tcPr>
                </a:tc>
                <a:extLst>
                  <a:ext uri="{0D108BD9-81ED-4DB2-BD59-A6C34878D82A}">
                    <a16:rowId xmlns:a16="http://schemas.microsoft.com/office/drawing/2014/main" val="1323519937"/>
                  </a:ext>
                </a:extLst>
              </a:tr>
              <a:tr h="574921">
                <a:tc>
                  <a:txBody>
                    <a:bodyPr/>
                    <a:lstStyle/>
                    <a:p>
                      <a:pPr algn="ctr" fontAlgn="b"/>
                      <a:r>
                        <a:rPr lang="en-US" sz="800" b="0" kern="1200">
                          <a:solidFill>
                            <a:srgbClr val="575555"/>
                          </a:solidFill>
                          <a:latin typeface="Nexa Bold"/>
                          <a:ea typeface="+mn-ea"/>
                          <a:cs typeface="+mn-cs"/>
                        </a:rPr>
                        <a:t>Big PET</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574921">
                <a:tc>
                  <a:txBody>
                    <a:bodyPr/>
                    <a:lstStyle/>
                    <a:p>
                      <a:pPr algn="ctr" fontAlgn="b"/>
                      <a:r>
                        <a:rPr lang="en-US" sz="800" b="0" kern="120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574921">
                <a:tc>
                  <a:txBody>
                    <a:bodyPr/>
                    <a:lstStyle/>
                    <a:p>
                      <a:pPr algn="ctr" fontAlgn="b"/>
                      <a:r>
                        <a:rPr lang="en-US" sz="800" b="0" kern="120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17" name="C2">
            <a:extLst>
              <a:ext uri="{FF2B5EF4-FFF2-40B4-BE49-F238E27FC236}">
                <a16:creationId xmlns:a16="http://schemas.microsoft.com/office/drawing/2014/main" id="{723B5DF6-FE6E-DB7A-FA74-49D5B6F8EA33}"/>
              </a:ext>
            </a:extLst>
          </p:cNvPr>
          <p:cNvGraphicFramePr>
            <a:graphicFrameLocks/>
          </p:cNvGraphicFramePr>
          <p:nvPr/>
        </p:nvGraphicFramePr>
        <p:xfrm>
          <a:off x="907981" y="1725153"/>
          <a:ext cx="7740000" cy="58579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8" name="C2">
            <a:extLst>
              <a:ext uri="{FF2B5EF4-FFF2-40B4-BE49-F238E27FC236}">
                <a16:creationId xmlns:a16="http://schemas.microsoft.com/office/drawing/2014/main" id="{3D556AA6-9118-6215-BF32-A68619F3BA2A}"/>
              </a:ext>
            </a:extLst>
          </p:cNvPr>
          <p:cNvGraphicFramePr>
            <a:graphicFrameLocks/>
          </p:cNvGraphicFramePr>
          <p:nvPr/>
        </p:nvGraphicFramePr>
        <p:xfrm>
          <a:off x="907981" y="2874966"/>
          <a:ext cx="7740000" cy="55663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5" name="C2">
            <a:extLst>
              <a:ext uri="{FF2B5EF4-FFF2-40B4-BE49-F238E27FC236}">
                <a16:creationId xmlns:a16="http://schemas.microsoft.com/office/drawing/2014/main" id="{F7BFE405-F459-8E06-73F0-AA291BEF8F01}"/>
              </a:ext>
            </a:extLst>
          </p:cNvPr>
          <p:cNvGraphicFramePr>
            <a:graphicFrameLocks/>
          </p:cNvGraphicFramePr>
          <p:nvPr/>
        </p:nvGraphicFramePr>
        <p:xfrm>
          <a:off x="907980" y="2318334"/>
          <a:ext cx="7740000" cy="55663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6" name="C2">
            <a:extLst>
              <a:ext uri="{FF2B5EF4-FFF2-40B4-BE49-F238E27FC236}">
                <a16:creationId xmlns:a16="http://schemas.microsoft.com/office/drawing/2014/main" id="{122DB804-8F64-63C6-36D5-C84BB8890B23}"/>
              </a:ext>
            </a:extLst>
          </p:cNvPr>
          <p:cNvGraphicFramePr>
            <a:graphicFrameLocks/>
          </p:cNvGraphicFramePr>
          <p:nvPr/>
        </p:nvGraphicFramePr>
        <p:xfrm>
          <a:off x="907981" y="3431840"/>
          <a:ext cx="7740000" cy="597096"/>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C2">
            <a:extLst>
              <a:ext uri="{FF2B5EF4-FFF2-40B4-BE49-F238E27FC236}">
                <a16:creationId xmlns:a16="http://schemas.microsoft.com/office/drawing/2014/main" id="{95C8C92F-978E-694A-EB7F-CD48B70EDA43}"/>
              </a:ext>
            </a:extLst>
          </p:cNvPr>
          <p:cNvGraphicFramePr>
            <a:graphicFrameLocks/>
          </p:cNvGraphicFramePr>
          <p:nvPr/>
        </p:nvGraphicFramePr>
        <p:xfrm>
          <a:off x="907981" y="4029177"/>
          <a:ext cx="7740000" cy="750642"/>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92198925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9F713-CB4C-7BD6-DC55-DEC948F8D8D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AC19F0-BB46-358A-B6C6-69127B12EE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2D61BD4-0BF8-D200-23F1-FABD5C28762A}"/>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9/19/2025</a:t>
            </a:fld>
            <a:endParaRPr lang="en-US" noProof="0"/>
          </a:p>
        </p:txBody>
      </p:sp>
      <p:sp>
        <p:nvSpPr>
          <p:cNvPr id="2" name="Footer Placeholder 1">
            <a:extLst>
              <a:ext uri="{FF2B5EF4-FFF2-40B4-BE49-F238E27FC236}">
                <a16:creationId xmlns:a16="http://schemas.microsoft.com/office/drawing/2014/main" id="{CEA02AA9-AEDE-6252-139F-DAF1465C97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297EBF08-74B8-16C6-0E52-DBD051CE042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4" name="Text Placeholder 3">
            <a:extLst>
              <a:ext uri="{FF2B5EF4-FFF2-40B4-BE49-F238E27FC236}">
                <a16:creationId xmlns:a16="http://schemas.microsoft.com/office/drawing/2014/main" id="{FEB2B946-9464-30C9-B43F-F137B55A3C7E}"/>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12A61832-B208-AA5B-E40E-DC5C53D72915}"/>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55B37E12-511C-C8BB-B144-290B6993E0BC}"/>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D4DEAD75-1470-58B2-6F9F-189D37AE5FA9}"/>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D1AAD118-3982-3FE6-AB4A-7E682A04C6BF}"/>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0EFDBF96-F62B-3594-2822-E2757DE13622}"/>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35E12F0-14E9-0AF5-383D-C71312A22ACB}"/>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3" name="Table 2">
            <a:extLst>
              <a:ext uri="{FF2B5EF4-FFF2-40B4-BE49-F238E27FC236}">
                <a16:creationId xmlns:a16="http://schemas.microsoft.com/office/drawing/2014/main" id="{C8272231-EDA3-2EB4-E976-3F0F0B6DED41}"/>
              </a:ext>
            </a:extLst>
          </p:cNvPr>
          <p:cNvGraphicFramePr>
            <a:graphicFrameLocks noGrp="1"/>
          </p:cNvGraphicFramePr>
          <p:nvPr/>
        </p:nvGraphicFramePr>
        <p:xfrm>
          <a:off x="546968" y="1364051"/>
          <a:ext cx="801009" cy="957556"/>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dirty="0">
                          <a:highlight>
                            <a:srgbClr val="FFFF00"/>
                          </a:highlight>
                          <a:latin typeface="Nexa Bold" panose="00000800000000000000" pitchFamily="2" charset="0"/>
                        </a:rPr>
                        <a:t>Kaufland</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bl>
          </a:graphicData>
        </a:graphic>
      </p:graphicFrame>
      <p:graphicFrame>
        <p:nvGraphicFramePr>
          <p:cNvPr id="10" name="Chart 9">
            <a:extLst>
              <a:ext uri="{FF2B5EF4-FFF2-40B4-BE49-F238E27FC236}">
                <a16:creationId xmlns:a16="http://schemas.microsoft.com/office/drawing/2014/main" id="{AF688A9F-6A1E-E8D1-5206-5F35E0C223EA}"/>
              </a:ext>
            </a:extLst>
          </p:cNvPr>
          <p:cNvGraphicFramePr/>
          <p:nvPr>
            <p:extLst>
              <p:ext uri="{D42A27DB-BD31-4B8C-83A1-F6EECF244321}">
                <p14:modId xmlns:p14="http://schemas.microsoft.com/office/powerpoint/2010/main" val="1251783051"/>
              </p:ext>
            </p:extLst>
          </p:nvPr>
        </p:nvGraphicFramePr>
        <p:xfrm>
          <a:off x="1347976" y="1333400"/>
          <a:ext cx="7300566" cy="15103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2016475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dirty="0" err="1">
                          <a:highlight>
                            <a:srgbClr val="FFFF00"/>
                          </a:highlight>
                          <a:latin typeface="Nexa Bold" panose="00000800000000000000" pitchFamily="2" charset="0"/>
                        </a:rPr>
                        <a:t>Profi</a:t>
                      </a:r>
                      <a:endParaRPr lang="en-US"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524668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6B1BB7-0332-B88C-6619-0986C527E75B}"/>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183FC888-5F26-8EB6-D0E3-95394288A47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AA8D690-7502-DA41-FEC8-0B8878AD7C4D}"/>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9/19/2025</a:t>
            </a:fld>
            <a:endParaRPr lang="en-US" noProof="0"/>
          </a:p>
        </p:txBody>
      </p:sp>
      <p:sp>
        <p:nvSpPr>
          <p:cNvPr id="2" name="Footer Placeholder 1">
            <a:extLst>
              <a:ext uri="{FF2B5EF4-FFF2-40B4-BE49-F238E27FC236}">
                <a16:creationId xmlns:a16="http://schemas.microsoft.com/office/drawing/2014/main" id="{66107D41-CF1E-DEF7-E36E-2F9BBF21962E}"/>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CFCE79D-D48C-971A-FEDA-189A66F55B5D}"/>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4" name="Text Placeholder 3">
            <a:extLst>
              <a:ext uri="{FF2B5EF4-FFF2-40B4-BE49-F238E27FC236}">
                <a16:creationId xmlns:a16="http://schemas.microsoft.com/office/drawing/2014/main" id="{DEEAB759-D984-C34D-E421-C858B285971B}"/>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6206781B-F7E9-C270-6371-CAA70F71363A}"/>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04A4CE9A-975A-EB66-B458-C49A28474E63}"/>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36DCD526-CC4E-88E3-27A8-6CC5E3D60C91}"/>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A94F9C3B-C5BF-23EA-4A7F-4DF025209883}"/>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47BC1835-4097-DEF2-FFEF-AECDAE757A21}"/>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FD7CD205-0326-1EA9-C370-F8E9863E18A0}"/>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15" name="Table 14">
            <a:extLst>
              <a:ext uri="{FF2B5EF4-FFF2-40B4-BE49-F238E27FC236}">
                <a16:creationId xmlns:a16="http://schemas.microsoft.com/office/drawing/2014/main" id="{6064F70F-20AA-3AA4-E150-7E77F8111238}"/>
              </a:ext>
            </a:extLst>
          </p:cNvPr>
          <p:cNvGraphicFramePr>
            <a:graphicFrameLocks noGrp="1"/>
          </p:cNvGraphicFramePr>
          <p:nvPr/>
        </p:nvGraphicFramePr>
        <p:xfrm>
          <a:off x="546968" y="1364051"/>
          <a:ext cx="801009" cy="2872668"/>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a:highlight>
                            <a:srgbClr val="FFFF00"/>
                          </a:highlight>
                          <a:latin typeface="Nexa Bold" panose="00000800000000000000" pitchFamily="2" charset="0"/>
                        </a:rPr>
                        <a:t>Kaufland</a:t>
                      </a:r>
                      <a:endParaRPr lang="en-CH"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r h="957556">
                <a:tc>
                  <a:txBody>
                    <a:bodyPr/>
                    <a:lstStyle/>
                    <a:p>
                      <a:r>
                        <a:rPr lang="en-US" sz="900" err="1">
                          <a:highlight>
                            <a:srgbClr val="FFFF00"/>
                          </a:highlight>
                          <a:latin typeface="Nexa Bold" panose="00000800000000000000" pitchFamily="2" charset="0"/>
                        </a:rPr>
                        <a:t>Profi</a:t>
                      </a:r>
                      <a:endParaRPr lang="en-US"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7" name="Chart 16">
            <a:extLst>
              <a:ext uri="{FF2B5EF4-FFF2-40B4-BE49-F238E27FC236}">
                <a16:creationId xmlns:a16="http://schemas.microsoft.com/office/drawing/2014/main" id="{DC110851-97B6-D171-DE71-0D1E5AF9BDB5}"/>
              </a:ext>
            </a:extLst>
          </p:cNvPr>
          <p:cNvGraphicFramePr/>
          <p:nvPr>
            <p:extLst>
              <p:ext uri="{D42A27DB-BD31-4B8C-83A1-F6EECF244321}">
                <p14:modId xmlns:p14="http://schemas.microsoft.com/office/powerpoint/2010/main" val="2645161283"/>
              </p:ext>
            </p:extLst>
          </p:nvPr>
        </p:nvGraphicFramePr>
        <p:xfrm>
          <a:off x="1347977" y="1366269"/>
          <a:ext cx="7300565"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8" name="Chart 17">
            <a:extLst>
              <a:ext uri="{FF2B5EF4-FFF2-40B4-BE49-F238E27FC236}">
                <a16:creationId xmlns:a16="http://schemas.microsoft.com/office/drawing/2014/main" id="{4660185D-F73E-33A3-1659-B3CB7E065790}"/>
              </a:ext>
            </a:extLst>
          </p:cNvPr>
          <p:cNvGraphicFramePr/>
          <p:nvPr/>
        </p:nvGraphicFramePr>
        <p:xfrm>
          <a:off x="1347977" y="2315962"/>
          <a:ext cx="7292024" cy="96206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9" name="Chart 18">
            <a:extLst>
              <a:ext uri="{FF2B5EF4-FFF2-40B4-BE49-F238E27FC236}">
                <a16:creationId xmlns:a16="http://schemas.microsoft.com/office/drawing/2014/main" id="{5560D566-CFA0-CB82-9821-A877BE9412B1}"/>
              </a:ext>
            </a:extLst>
          </p:cNvPr>
          <p:cNvGraphicFramePr/>
          <p:nvPr>
            <p:extLst>
              <p:ext uri="{D42A27DB-BD31-4B8C-83A1-F6EECF244321}">
                <p14:modId xmlns:p14="http://schemas.microsoft.com/office/powerpoint/2010/main" val="3625103377"/>
              </p:ext>
            </p:extLst>
          </p:nvPr>
        </p:nvGraphicFramePr>
        <p:xfrm>
          <a:off x="1347976" y="3278024"/>
          <a:ext cx="7300566" cy="1510384"/>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7998523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187921420"/>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rPr lang="en-GB"/>
              <a:t>Data Source | Trade Panel | ending Apr 22</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r>
              <a:rPr lang="en-US"/>
              <a:t>Value Uplift by brand | Category/Sector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486807">
                  <a:extLst>
                    <a:ext uri="{9D8B030D-6E8A-4147-A177-3AD203B41FA5}">
                      <a16:colId xmlns:a16="http://schemas.microsoft.com/office/drawing/2014/main" val="3095964032"/>
                    </a:ext>
                  </a:extLst>
                </a:gridCol>
                <a:gridCol w="486807">
                  <a:extLst>
                    <a:ext uri="{9D8B030D-6E8A-4147-A177-3AD203B41FA5}">
                      <a16:colId xmlns:a16="http://schemas.microsoft.com/office/drawing/2014/main" val="1492968221"/>
                    </a:ext>
                  </a:extLst>
                </a:gridCol>
                <a:gridCol w="486807">
                  <a:extLst>
                    <a:ext uri="{9D8B030D-6E8A-4147-A177-3AD203B41FA5}">
                      <a16:colId xmlns:a16="http://schemas.microsoft.com/office/drawing/2014/main" val="1388089212"/>
                    </a:ext>
                  </a:extLst>
                </a:gridCol>
                <a:gridCol w="486807">
                  <a:extLst>
                    <a:ext uri="{9D8B030D-6E8A-4147-A177-3AD203B41FA5}">
                      <a16:colId xmlns:a16="http://schemas.microsoft.com/office/drawing/2014/main" val="653198056"/>
                    </a:ext>
                  </a:extLst>
                </a:gridCol>
                <a:gridCol w="486807">
                  <a:extLst>
                    <a:ext uri="{9D8B030D-6E8A-4147-A177-3AD203B41FA5}">
                      <a16:colId xmlns:a16="http://schemas.microsoft.com/office/drawing/2014/main" val="2597698693"/>
                    </a:ext>
                  </a:extLst>
                </a:gridCol>
                <a:gridCol w="486807">
                  <a:extLst>
                    <a:ext uri="{9D8B030D-6E8A-4147-A177-3AD203B41FA5}">
                      <a16:colId xmlns:a16="http://schemas.microsoft.com/office/drawing/2014/main" val="3679993237"/>
                    </a:ext>
                  </a:extLst>
                </a:gridCol>
                <a:gridCol w="486807">
                  <a:extLst>
                    <a:ext uri="{9D8B030D-6E8A-4147-A177-3AD203B41FA5}">
                      <a16:colId xmlns:a16="http://schemas.microsoft.com/office/drawing/2014/main" val="3222933510"/>
                    </a:ext>
                  </a:extLst>
                </a:gridCol>
                <a:gridCol w="486807">
                  <a:extLst>
                    <a:ext uri="{9D8B030D-6E8A-4147-A177-3AD203B41FA5}">
                      <a16:colId xmlns:a16="http://schemas.microsoft.com/office/drawing/2014/main" val="2120373476"/>
                    </a:ext>
                  </a:extLst>
                </a:gridCol>
                <a:gridCol w="486807">
                  <a:extLst>
                    <a:ext uri="{9D8B030D-6E8A-4147-A177-3AD203B41FA5}">
                      <a16:colId xmlns:a16="http://schemas.microsoft.com/office/drawing/2014/main" val="2675510286"/>
                    </a:ext>
                  </a:extLst>
                </a:gridCol>
                <a:gridCol w="486807">
                  <a:extLst>
                    <a:ext uri="{9D8B030D-6E8A-4147-A177-3AD203B41FA5}">
                      <a16:colId xmlns:a16="http://schemas.microsoft.com/office/drawing/2014/main" val="3000440053"/>
                    </a:ext>
                  </a:extLst>
                </a:gridCol>
                <a:gridCol w="486807">
                  <a:extLst>
                    <a:ext uri="{9D8B030D-6E8A-4147-A177-3AD203B41FA5}">
                      <a16:colId xmlns:a16="http://schemas.microsoft.com/office/drawing/2014/main" val="3214997608"/>
                    </a:ext>
                  </a:extLst>
                </a:gridCol>
                <a:gridCol w="486807">
                  <a:extLst>
                    <a:ext uri="{9D8B030D-6E8A-4147-A177-3AD203B41FA5}">
                      <a16:colId xmlns:a16="http://schemas.microsoft.com/office/drawing/2014/main" val="4271382557"/>
                    </a:ext>
                  </a:extLst>
                </a:gridCol>
                <a:gridCol w="486807">
                  <a:extLst>
                    <a:ext uri="{9D8B030D-6E8A-4147-A177-3AD203B41FA5}">
                      <a16:colId xmlns:a16="http://schemas.microsoft.com/office/drawing/2014/main" val="826016986"/>
                    </a:ext>
                  </a:extLst>
                </a:gridCol>
                <a:gridCol w="486807">
                  <a:extLst>
                    <a:ext uri="{9D8B030D-6E8A-4147-A177-3AD203B41FA5}">
                      <a16:colId xmlns:a16="http://schemas.microsoft.com/office/drawing/2014/main" val="2337481629"/>
                    </a:ext>
                  </a:extLst>
                </a:gridCol>
              </a:tblGrid>
              <a:tr h="278130">
                <a:tc>
                  <a:txBody>
                    <a:bodyPr/>
                    <a:lstStyle/>
                    <a:p>
                      <a:pPr algn="ctr"/>
                      <a:r>
                        <a:rPr lang="en-US" sz="800" b="0" dirty="0">
                          <a:solidFill>
                            <a:schemeClr val="tx2"/>
                          </a:solidFill>
                          <a:latin typeface="Nexa Bold" panose="00000800000000000000" pitchFamily="2" charset="0"/>
                        </a:rPr>
                        <a:t>Carrefour</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Coop </a:t>
                      </a:r>
                      <a:r>
                        <a:rPr lang="en-US" sz="800" b="0" dirty="0" err="1">
                          <a:solidFill>
                            <a:schemeClr val="tx2"/>
                          </a:solidFill>
                          <a:latin typeface="Nexa Bold" panose="00000800000000000000" pitchFamily="2" charset="0"/>
                        </a:rPr>
                        <a:t>Alleanz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err="1">
                          <a:solidFill>
                            <a:schemeClr val="tx2"/>
                          </a:solidFill>
                          <a:latin typeface="Nexa Bold" panose="00000800000000000000" pitchFamily="2" charset="0"/>
                        </a:rPr>
                        <a:t>Esselung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Gruppo Pam</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29777549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16F2A5-DBD1-6183-266E-7BE86D66DE1B}"/>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0371FAE5-2F64-DD77-CB90-903A08FC003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6AC208-DA89-A6A3-A884-845C6DCDC93E}"/>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26D5B2F0-F981-240A-2FBB-9AACD883931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4103ADAF-02C4-DF4E-65FB-8DDFC41C8C6D}"/>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D179FF8-F84C-C588-7117-E73BD453C01F}"/>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B07141CB-DEB2-7B63-561B-BD884F3201EE}"/>
              </a:ext>
            </a:extLst>
          </p:cNvPr>
          <p:cNvSpPr>
            <a:spLocks noGrp="1"/>
          </p:cNvSpPr>
          <p:nvPr>
            <p:ph type="body" sz="quarter" idx="18"/>
          </p:nvPr>
        </p:nvSpPr>
        <p:spPr>
          <a:xfrm>
            <a:off x="503238" y="774000"/>
            <a:ext cx="8136762" cy="360000"/>
          </a:xfrm>
        </p:spPr>
        <p:txBody>
          <a:bodyPr/>
          <a:lstStyle/>
          <a:p>
            <a:r>
              <a:rPr lang="en-GB" dirty="0"/>
              <a:t>Promotional Frequency Analysis | Economy | </a:t>
            </a:r>
            <a:r>
              <a:rPr lang="en-GB" dirty="0" err="1"/>
              <a:t>Bucegi</a:t>
            </a:r>
            <a:r>
              <a:rPr lang="en-GB" dirty="0"/>
              <a:t> | P12M</a:t>
            </a:r>
          </a:p>
        </p:txBody>
      </p:sp>
      <p:sp>
        <p:nvSpPr>
          <p:cNvPr id="20" name="Title 19">
            <a:extLst>
              <a:ext uri="{FF2B5EF4-FFF2-40B4-BE49-F238E27FC236}">
                <a16:creationId xmlns:a16="http://schemas.microsoft.com/office/drawing/2014/main" id="{6ABA3CE5-FEC1-1B17-6619-B7E8BA616072}"/>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A5DC073-21B5-16A1-D0D1-8C9DAA727F9D}"/>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1AB84F46-B1E9-AA76-1B1C-45D99A7CD1D7}"/>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630CA1B3-8FA2-738A-0EDD-2BC4AA11D0B7}"/>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AC3E286C-A597-6CAF-1963-CFDCB0FA9E61}"/>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18" name="Table 17">
            <a:extLst>
              <a:ext uri="{FF2B5EF4-FFF2-40B4-BE49-F238E27FC236}">
                <a16:creationId xmlns:a16="http://schemas.microsoft.com/office/drawing/2014/main" id="{22B3E0BE-E67D-26F4-F11D-C964DB076F17}"/>
              </a:ext>
            </a:extLst>
          </p:cNvPr>
          <p:cNvGraphicFramePr>
            <a:graphicFrameLocks noGrp="1"/>
          </p:cNvGraphicFramePr>
          <p:nvPr/>
        </p:nvGraphicFramePr>
        <p:xfrm>
          <a:off x="546968" y="1364051"/>
          <a:ext cx="801009" cy="2852528"/>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713132">
                <a:tc>
                  <a:txBody>
                    <a:bodyPr/>
                    <a:lstStyle/>
                    <a:p>
                      <a:r>
                        <a:rPr lang="en-US" sz="900">
                          <a:highlight>
                            <a:srgbClr val="FFFF00"/>
                          </a:highlight>
                          <a:latin typeface="Nexa Bold" panose="00000800000000000000" pitchFamily="2" charset="0"/>
                        </a:rPr>
                        <a:t>Kaufland</a:t>
                      </a:r>
                      <a:endParaRPr lang="en-CH"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32267898"/>
                  </a:ext>
                </a:extLst>
              </a:tr>
              <a:tr h="713132">
                <a:tc>
                  <a:txBody>
                    <a:bodyPr/>
                    <a:lstStyle/>
                    <a:p>
                      <a:r>
                        <a:rPr lang="en-US" sz="900">
                          <a:highlight>
                            <a:srgbClr val="FFFF00"/>
                          </a:highlight>
                          <a:latin typeface="Nexa Bold" panose="00000800000000000000" pitchFamily="2" charset="0"/>
                        </a:rPr>
                        <a:t>Kaufland</a:t>
                      </a:r>
                      <a:endParaRPr lang="en-CH"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r h="713132">
                <a:tc>
                  <a:txBody>
                    <a:bodyPr/>
                    <a:lstStyle/>
                    <a:p>
                      <a:r>
                        <a:rPr lang="en-US" sz="900" err="1">
                          <a:highlight>
                            <a:srgbClr val="FFFF00"/>
                          </a:highlight>
                          <a:latin typeface="Nexa Bold" panose="00000800000000000000" pitchFamily="2" charset="0"/>
                        </a:rPr>
                        <a:t>Profi</a:t>
                      </a:r>
                      <a:endParaRPr lang="en-US"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713132">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9" name="Chart 18">
            <a:extLst>
              <a:ext uri="{FF2B5EF4-FFF2-40B4-BE49-F238E27FC236}">
                <a16:creationId xmlns:a16="http://schemas.microsoft.com/office/drawing/2014/main" id="{9B1673E6-73E0-EF8C-82ED-CD3A03B96FB8}"/>
              </a:ext>
            </a:extLst>
          </p:cNvPr>
          <p:cNvGraphicFramePr/>
          <p:nvPr>
            <p:extLst>
              <p:ext uri="{D42A27DB-BD31-4B8C-83A1-F6EECF244321}">
                <p14:modId xmlns:p14="http://schemas.microsoft.com/office/powerpoint/2010/main" val="3203422091"/>
              </p:ext>
            </p:extLst>
          </p:nvPr>
        </p:nvGraphicFramePr>
        <p:xfrm>
          <a:off x="1347977" y="1366269"/>
          <a:ext cx="7300565" cy="70809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1" name="Chart 20">
            <a:extLst>
              <a:ext uri="{FF2B5EF4-FFF2-40B4-BE49-F238E27FC236}">
                <a16:creationId xmlns:a16="http://schemas.microsoft.com/office/drawing/2014/main" id="{BD2D4B5E-F49A-3634-5C61-7F1B97F6B924}"/>
              </a:ext>
            </a:extLst>
          </p:cNvPr>
          <p:cNvGraphicFramePr/>
          <p:nvPr/>
        </p:nvGraphicFramePr>
        <p:xfrm>
          <a:off x="1347977" y="2088079"/>
          <a:ext cx="7292024" cy="70809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2" name="Chart 21">
            <a:extLst>
              <a:ext uri="{FF2B5EF4-FFF2-40B4-BE49-F238E27FC236}">
                <a16:creationId xmlns:a16="http://schemas.microsoft.com/office/drawing/2014/main" id="{F58FF1DC-468D-96E2-29C7-85AE66661781}"/>
              </a:ext>
            </a:extLst>
          </p:cNvPr>
          <p:cNvGraphicFramePr/>
          <p:nvPr/>
        </p:nvGraphicFramePr>
        <p:xfrm>
          <a:off x="1390519" y="2809891"/>
          <a:ext cx="7292024" cy="698288"/>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3" name="Chart 22">
            <a:extLst>
              <a:ext uri="{FF2B5EF4-FFF2-40B4-BE49-F238E27FC236}">
                <a16:creationId xmlns:a16="http://schemas.microsoft.com/office/drawing/2014/main" id="{0274E9D7-6F0F-48AA-0251-3FC84CB38733}"/>
              </a:ext>
            </a:extLst>
          </p:cNvPr>
          <p:cNvGraphicFramePr/>
          <p:nvPr>
            <p:extLst>
              <p:ext uri="{D42A27DB-BD31-4B8C-83A1-F6EECF244321}">
                <p14:modId xmlns:p14="http://schemas.microsoft.com/office/powerpoint/2010/main" val="3988648183"/>
              </p:ext>
            </p:extLst>
          </p:nvPr>
        </p:nvGraphicFramePr>
        <p:xfrm>
          <a:off x="1347976" y="3521894"/>
          <a:ext cx="7300566" cy="1266514"/>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9085089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9/19/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rPr lang="en-US"/>
              <a:t>DATA SOURCE: Trade Panel/Retailer Data | Ending Dec 2022</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olume Uplift vs discount depth | By Product | Category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25993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9/19/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r>
              <a:rPr lang="en-US" dirty="0"/>
              <a:t>Ranked by Incremental Value</a:t>
            </a:r>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dirty="0"/>
              <a:t>DATA SOURCE: Trade Panel/Retailer Data | Ending Dec 2022</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Value Uplift vs Promo Efficiency | By Product | Category/Sector | Retailer | P12M</a:t>
            </a:r>
          </a:p>
          <a:p>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
                <a:tc>
                  <a:txBody>
                    <a:bodyPr/>
                    <a:lstStyle/>
                    <a:p>
                      <a:pPr algn="ctr" fontAlgn="b"/>
                      <a:r>
                        <a:rPr lang="en-CH" sz="400" b="0" i="0" u="none" strike="noStrike">
                          <a:solidFill>
                            <a:schemeClr val="tx2"/>
                          </a:solidFill>
                          <a:effectLst/>
                          <a:latin typeface="+mn-lt"/>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68475315"/>
                  </a:ext>
                </a:extLst>
              </a:tr>
              <a:tr h="72141">
                <a:tc>
                  <a:txBody>
                    <a:bodyPr/>
                    <a:lstStyle/>
                    <a:p>
                      <a:pPr algn="ctr" fontAlgn="b"/>
                      <a:r>
                        <a:rPr lang="en-CH" sz="400" b="0" i="0" u="none" strike="noStrike">
                          <a:solidFill>
                            <a:schemeClr val="tx2"/>
                          </a:solidFill>
                          <a:effectLst/>
                          <a:latin typeface="+mn-lt"/>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74345675"/>
                  </a:ext>
                </a:extLst>
              </a:tr>
              <a:tr h="72141">
                <a:tc>
                  <a:txBody>
                    <a:bodyPr/>
                    <a:lstStyle/>
                    <a:p>
                      <a:pPr algn="ctr" fontAlgn="b"/>
                      <a:r>
                        <a:rPr lang="en-CH" sz="400" b="0" i="0" u="none" strike="noStrike">
                          <a:solidFill>
                            <a:schemeClr val="tx2"/>
                          </a:solidFill>
                          <a:effectLst/>
                          <a:latin typeface="+mn-lt"/>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1017686"/>
                  </a:ext>
                </a:extLst>
              </a:tr>
              <a:tr h="72141">
                <a:tc>
                  <a:txBody>
                    <a:bodyPr/>
                    <a:lstStyle/>
                    <a:p>
                      <a:pPr algn="ctr" fontAlgn="b"/>
                      <a:r>
                        <a:rPr lang="en-CH" sz="400" b="0" i="0" u="none" strike="noStrike">
                          <a:solidFill>
                            <a:schemeClr val="tx2"/>
                          </a:solidFill>
                          <a:effectLst/>
                          <a:latin typeface="+mn-lt"/>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Weihenstepha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53934404"/>
                  </a:ext>
                </a:extLst>
              </a:tr>
              <a:tr h="72141">
                <a:tc>
                  <a:txBody>
                    <a:bodyPr/>
                    <a:lstStyle/>
                    <a:p>
                      <a:pPr algn="ctr" fontAlgn="b"/>
                      <a:r>
                        <a:rPr lang="en-CH" sz="400" b="0" i="0" u="none" strike="noStrike">
                          <a:solidFill>
                            <a:schemeClr val="tx2"/>
                          </a:solidFill>
                          <a:effectLst/>
                          <a:latin typeface="+mn-lt"/>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83251638"/>
                  </a:ext>
                </a:extLst>
              </a:tr>
              <a:tr h="72141">
                <a:tc>
                  <a:txBody>
                    <a:bodyPr/>
                    <a:lstStyle/>
                    <a:p>
                      <a:pPr algn="ctr" fontAlgn="b"/>
                      <a:r>
                        <a:rPr lang="en-CH" sz="400" b="0" i="0" u="none" strike="noStrike">
                          <a:solidFill>
                            <a:schemeClr val="tx2"/>
                          </a:solidFill>
                          <a:effectLst/>
                          <a:latin typeface="+mn-lt"/>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Frau Antj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61931653"/>
                  </a:ext>
                </a:extLst>
              </a:tr>
              <a:tr h="72141">
                <a:tc>
                  <a:txBody>
                    <a:bodyPr/>
                    <a:lstStyle/>
                    <a:p>
                      <a:pPr algn="ctr" fontAlgn="b"/>
                      <a:r>
                        <a:rPr lang="en-CH" sz="400" b="0" i="0" u="none" strike="noStrike">
                          <a:solidFill>
                            <a:schemeClr val="tx2"/>
                          </a:solidFill>
                          <a:effectLst/>
                          <a:latin typeface="+mn-lt"/>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Becher 2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29411828"/>
                  </a:ext>
                </a:extLst>
              </a:tr>
              <a:tr h="72141">
                <a:tc>
                  <a:txBody>
                    <a:bodyPr/>
                    <a:lstStyle/>
                    <a:p>
                      <a:pPr algn="ctr" fontAlgn="b"/>
                      <a:r>
                        <a:rPr lang="en-CH" sz="400" b="0" i="0" u="none" strike="noStrike">
                          <a:solidFill>
                            <a:schemeClr val="tx2"/>
                          </a:solidFill>
                          <a:effectLst/>
                          <a:latin typeface="+mn-lt"/>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9762943"/>
                  </a:ext>
                </a:extLst>
              </a:tr>
              <a:tr h="72141">
                <a:tc>
                  <a:txBody>
                    <a:bodyPr/>
                    <a:lstStyle/>
                    <a:p>
                      <a:pPr algn="ctr" fontAlgn="b"/>
                      <a:r>
                        <a:rPr lang="en-CH" sz="400" b="0" i="0" u="none" strike="noStrike">
                          <a:solidFill>
                            <a:schemeClr val="tx2"/>
                          </a:solidFill>
                          <a:effectLst/>
                          <a:latin typeface="+mn-lt"/>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Bech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63467390"/>
                  </a:ext>
                </a:extLst>
              </a:tr>
              <a:tr h="72141">
                <a:tc>
                  <a:txBody>
                    <a:bodyPr/>
                    <a:lstStyle/>
                    <a:p>
                      <a:pPr algn="ctr" fontAlgn="b"/>
                      <a:r>
                        <a:rPr lang="en-CH" sz="400" b="0" i="0" u="none" strike="noStrike">
                          <a:solidFill>
                            <a:schemeClr val="tx2"/>
                          </a:solidFill>
                          <a:effectLst/>
                          <a:latin typeface="+mn-lt"/>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8294199"/>
                  </a:ext>
                </a:extLst>
              </a:tr>
              <a:tr h="72141">
                <a:tc>
                  <a:txBody>
                    <a:bodyPr/>
                    <a:lstStyle/>
                    <a:p>
                      <a:pPr algn="ctr" fontAlgn="b"/>
                      <a:r>
                        <a:rPr lang="en-CH" sz="400" b="0" i="0" u="none" strike="noStrike">
                          <a:solidFill>
                            <a:schemeClr val="tx2"/>
                          </a:solidFill>
                          <a:effectLst/>
                          <a:latin typeface="+mn-lt"/>
                        </a:rPr>
                        <a:t>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12783936"/>
                  </a:ext>
                </a:extLst>
              </a:tr>
              <a:tr h="72141">
                <a:tc>
                  <a:txBody>
                    <a:bodyPr/>
                    <a:lstStyle/>
                    <a:p>
                      <a:pPr algn="ctr" fontAlgn="b"/>
                      <a:r>
                        <a:rPr lang="en-CH" sz="400" b="0" i="0" u="none" strike="noStrike">
                          <a:solidFill>
                            <a:schemeClr val="tx2"/>
                          </a:solidFill>
                          <a:effectLst/>
                          <a:latin typeface="+mn-lt"/>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alte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7362147"/>
                  </a:ext>
                </a:extLst>
              </a:tr>
              <a:tr h="72141">
                <a:tc>
                  <a:txBody>
                    <a:bodyPr/>
                    <a:lstStyle/>
                    <a:p>
                      <a:pPr algn="ctr" fontAlgn="b"/>
                      <a:r>
                        <a:rPr lang="en-CH" sz="400" b="0" i="0" u="none" strike="noStrike">
                          <a:solidFill>
                            <a:schemeClr val="tx2"/>
                          </a:solidFill>
                          <a:effectLst/>
                          <a:latin typeface="+mn-lt"/>
                        </a:rPr>
                        <a:t>1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91460699"/>
                  </a:ext>
                </a:extLst>
              </a:tr>
              <a:tr h="72141">
                <a:tc>
                  <a:txBody>
                    <a:bodyPr/>
                    <a:lstStyle/>
                    <a:p>
                      <a:pPr algn="ctr" fontAlgn="b"/>
                      <a:r>
                        <a:rPr lang="en-CH" sz="400" b="0" i="0" u="none" strike="noStrike">
                          <a:solidFill>
                            <a:schemeClr val="tx2"/>
                          </a:solidFill>
                          <a:effectLst/>
                          <a:latin typeface="+mn-lt"/>
                        </a:rPr>
                        <a:t>1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iolife Vioblock Vegan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40093880"/>
                  </a:ext>
                </a:extLst>
              </a:tr>
              <a:tr h="72141">
                <a:tc>
                  <a:txBody>
                    <a:bodyPr/>
                    <a:lstStyle/>
                    <a:p>
                      <a:pPr algn="ctr" fontAlgn="b"/>
                      <a:r>
                        <a:rPr lang="en-CH" sz="400" b="0" i="0" u="none" strike="noStrike">
                          <a:solidFill>
                            <a:schemeClr val="tx2"/>
                          </a:solidFill>
                          <a:effectLst/>
                          <a:latin typeface="+mn-lt"/>
                        </a:rPr>
                        <a:t>1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llgaeuer Hof 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50994264"/>
                  </a:ext>
                </a:extLst>
              </a:tr>
              <a:tr h="72141">
                <a:tc>
                  <a:txBody>
                    <a:bodyPr/>
                    <a:lstStyle/>
                    <a:p>
                      <a:pPr algn="ctr" fontAlgn="b"/>
                      <a:r>
                        <a:rPr lang="en-CH" sz="400" b="0" i="0" u="none" strike="noStrike">
                          <a:solidFill>
                            <a:schemeClr val="tx2"/>
                          </a:solidFill>
                          <a:effectLst/>
                          <a:latin typeface="+mn-lt"/>
                        </a:rPr>
                        <a:t>1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Tube Vegan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75426428"/>
                  </a:ext>
                </a:extLst>
              </a:tr>
              <a:tr h="72141">
                <a:tc>
                  <a:txBody>
                    <a:bodyPr/>
                    <a:lstStyle/>
                    <a:p>
                      <a:pPr algn="ctr" fontAlgn="b"/>
                      <a:r>
                        <a:rPr lang="en-CH" sz="400" b="0" i="0" u="none" strike="noStrike">
                          <a:solidFill>
                            <a:schemeClr val="tx2"/>
                          </a:solidFill>
                          <a:effectLst/>
                          <a:latin typeface="+mn-lt"/>
                        </a:rPr>
                        <a:t>1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Allgaeuer Hof 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97241745"/>
                  </a:ext>
                </a:extLst>
              </a:tr>
              <a:tr h="72141">
                <a:tc>
                  <a:txBody>
                    <a:bodyPr/>
                    <a:lstStyle/>
                    <a:p>
                      <a:pPr algn="ctr" fontAlgn="b"/>
                      <a:r>
                        <a:rPr lang="en-CH" sz="400" b="0" i="0" u="none" strike="noStrike">
                          <a:solidFill>
                            <a:schemeClr val="tx2"/>
                          </a:solidFill>
                          <a:effectLst/>
                          <a:latin typeface="+mn-lt"/>
                        </a:rPr>
                        <a:t>1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Becher 1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13182630"/>
                  </a:ext>
                </a:extLst>
              </a:tr>
              <a:tr h="72141">
                <a:tc>
                  <a:txBody>
                    <a:bodyPr/>
                    <a:lstStyle/>
                    <a:p>
                      <a:pPr algn="ctr" fontAlgn="b"/>
                      <a:r>
                        <a:rPr lang="en-CH" sz="400" b="0" i="0" u="none" strike="noStrike">
                          <a:solidFill>
                            <a:schemeClr val="tx2"/>
                          </a:solidFill>
                          <a:effectLst/>
                          <a:latin typeface="+mn-lt"/>
                        </a:rPr>
                        <a:t>1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35205234"/>
                  </a:ext>
                </a:extLst>
              </a:tr>
              <a:tr h="72141">
                <a:tc>
                  <a:txBody>
                    <a:bodyPr/>
                    <a:lstStyle/>
                    <a:p>
                      <a:pPr algn="ctr" fontAlgn="b"/>
                      <a:r>
                        <a:rPr lang="en-CH" sz="400" b="0" i="0" u="none" strike="noStrike">
                          <a:solidFill>
                            <a:schemeClr val="tx2"/>
                          </a:solidFill>
                          <a:effectLst/>
                          <a:latin typeface="+mn-lt"/>
                        </a:rPr>
                        <a:t>2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04871848"/>
                  </a:ext>
                </a:extLst>
              </a:tr>
              <a:tr h="72141">
                <a:tc>
                  <a:txBody>
                    <a:bodyPr/>
                    <a:lstStyle/>
                    <a:p>
                      <a:pPr algn="ctr" fontAlgn="b"/>
                      <a:r>
                        <a:rPr lang="en-CH" sz="400" b="0" i="0" u="none" strike="noStrike">
                          <a:solidFill>
                            <a:schemeClr val="tx2"/>
                          </a:solidFill>
                          <a:effectLst/>
                          <a:latin typeface="+mn-lt"/>
                        </a:rPr>
                        <a:t>2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Die Vegan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49180832"/>
                  </a:ext>
                </a:extLst>
              </a:tr>
              <a:tr h="72141">
                <a:tc>
                  <a:txBody>
                    <a:bodyPr/>
                    <a:lstStyle/>
                    <a:p>
                      <a:pPr algn="ctr" fontAlgn="b"/>
                      <a:r>
                        <a:rPr lang="en-CH" sz="400" b="0" i="0" u="none" strike="noStrike">
                          <a:solidFill>
                            <a:schemeClr val="tx2"/>
                          </a:solidFill>
                          <a:effectLst/>
                          <a:latin typeface="+mn-lt"/>
                        </a:rPr>
                        <a:t>2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17787889"/>
                  </a:ext>
                </a:extLst>
              </a:tr>
              <a:tr h="72141">
                <a:tc>
                  <a:txBody>
                    <a:bodyPr/>
                    <a:lstStyle/>
                    <a:p>
                      <a:pPr algn="ctr" fontAlgn="b"/>
                      <a:r>
                        <a:rPr lang="en-CH" sz="400" b="0" i="0" u="none" strike="noStrike">
                          <a:solidFill>
                            <a:schemeClr val="tx2"/>
                          </a:solidFill>
                          <a:effectLst/>
                          <a:latin typeface="+mn-lt"/>
                        </a:rPr>
                        <a:t>2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9181467"/>
                  </a:ext>
                </a:extLst>
              </a:tr>
              <a:tr h="72141">
                <a:tc>
                  <a:txBody>
                    <a:bodyPr/>
                    <a:lstStyle/>
                    <a:p>
                      <a:pPr algn="ctr" fontAlgn="b"/>
                      <a:r>
                        <a:rPr lang="en-CH" sz="400" b="0" i="0" u="none" strike="noStrike">
                          <a:solidFill>
                            <a:schemeClr val="tx2"/>
                          </a:solidFill>
                          <a:effectLst/>
                          <a:latin typeface="+mn-lt"/>
                        </a:rPr>
                        <a:t>2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esident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49409313"/>
                  </a:ext>
                </a:extLst>
              </a:tr>
              <a:tr h="72141">
                <a:tc>
                  <a:txBody>
                    <a:bodyPr/>
                    <a:lstStyle/>
                    <a:p>
                      <a:pPr algn="ctr" fontAlgn="b"/>
                      <a:r>
                        <a:rPr lang="en-CH" sz="400" b="0" i="0" u="none" strike="noStrike">
                          <a:solidFill>
                            <a:schemeClr val="tx2"/>
                          </a:solidFill>
                          <a:effectLst/>
                          <a:latin typeface="+mn-lt"/>
                        </a:rPr>
                        <a:t>2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ndechser Natur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0138508"/>
                  </a:ext>
                </a:extLst>
              </a:tr>
              <a:tr h="72141">
                <a:tc>
                  <a:txBody>
                    <a:bodyPr/>
                    <a:lstStyle/>
                    <a:p>
                      <a:pPr algn="ctr" fontAlgn="b"/>
                      <a:r>
                        <a:rPr lang="en-CH" sz="400" b="0" i="0" u="none" strike="noStrike">
                          <a:solidFill>
                            <a:schemeClr val="tx2"/>
                          </a:solidFill>
                          <a:effectLst/>
                          <a:latin typeface="+mn-lt"/>
                        </a:rPr>
                        <a:t>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Echt Franke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62685953"/>
                  </a:ext>
                </a:extLst>
              </a:tr>
              <a:tr h="72141">
                <a:tc>
                  <a:txBody>
                    <a:bodyPr/>
                    <a:lstStyle/>
                    <a:p>
                      <a:pPr algn="ctr" fontAlgn="b"/>
                      <a:r>
                        <a:rPr lang="en-CH" sz="400" b="0" i="0" u="none" strike="noStrike">
                          <a:solidFill>
                            <a:schemeClr val="tx2"/>
                          </a:solidFill>
                          <a:effectLst/>
                          <a:latin typeface="+mn-lt"/>
                        </a:rPr>
                        <a:t>2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nb-NO" sz="400" b="0" i="0" u="none" strike="noStrike">
                          <a:solidFill>
                            <a:schemeClr val="tx2"/>
                          </a:solidFill>
                          <a:effectLst/>
                          <a:latin typeface="+mn-lt"/>
                        </a:rPr>
                        <a:t>Private Label Pilz Glas 1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84834823"/>
                  </a:ext>
                </a:extLst>
              </a:tr>
              <a:tr h="72141">
                <a:tc>
                  <a:txBody>
                    <a:bodyPr/>
                    <a:lstStyle/>
                    <a:p>
                      <a:pPr algn="ctr" fontAlgn="b"/>
                      <a:r>
                        <a:rPr lang="en-CH" sz="400" b="0" i="0" u="none" strike="noStrike">
                          <a:solidFill>
                            <a:schemeClr val="tx2"/>
                          </a:solidFill>
                          <a:effectLst/>
                          <a:latin typeface="+mn-lt"/>
                        </a:rPr>
                        <a:t>2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Kerrygold Original Kraeuter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2592600"/>
                  </a:ext>
                </a:extLst>
              </a:tr>
              <a:tr h="72141">
                <a:tc>
                  <a:txBody>
                    <a:bodyPr/>
                    <a:lstStyle/>
                    <a:p>
                      <a:pPr algn="ctr" fontAlgn="b"/>
                      <a:r>
                        <a:rPr lang="en-CH" sz="400" b="0" i="0" u="none" strike="noStrike">
                          <a:solidFill>
                            <a:schemeClr val="tx2"/>
                          </a:solidFill>
                          <a:effectLst/>
                          <a:latin typeface="+mn-lt"/>
                        </a:rPr>
                        <a:t>2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Bio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4432554"/>
                  </a:ext>
                </a:extLst>
              </a:tr>
              <a:tr h="72141">
                <a:tc>
                  <a:txBody>
                    <a:bodyPr/>
                    <a:lstStyle/>
                    <a:p>
                      <a:pPr algn="ctr" fontAlgn="b"/>
                      <a:r>
                        <a:rPr lang="en-CH" sz="400" b="0" i="0" u="none" strike="noStrike">
                          <a:solidFill>
                            <a:schemeClr val="tx2"/>
                          </a:solidFill>
                          <a:effectLst/>
                          <a:latin typeface="+mn-lt"/>
                        </a:rPr>
                        <a:t>3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Hansano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5818235"/>
                  </a:ext>
                </a:extLst>
              </a:tr>
              <a:tr h="72141">
                <a:tc>
                  <a:txBody>
                    <a:bodyPr/>
                    <a:lstStyle/>
                    <a:p>
                      <a:pPr algn="ctr" fontAlgn="b"/>
                      <a:r>
                        <a:rPr lang="en-CH" sz="400" b="0" i="0" u="none" strike="noStrike">
                          <a:solidFill>
                            <a:schemeClr val="tx2"/>
                          </a:solidFill>
                          <a:effectLst/>
                          <a:latin typeface="+mn-lt"/>
                        </a:rPr>
                        <a:t>3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Meggle Knoblauch / Zwiebel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14338691"/>
                  </a:ext>
                </a:extLst>
              </a:tr>
              <a:tr h="72141">
                <a:tc>
                  <a:txBody>
                    <a:bodyPr/>
                    <a:lstStyle/>
                    <a:p>
                      <a:pPr algn="ctr" fontAlgn="b"/>
                      <a:r>
                        <a:rPr lang="en-CH" sz="400" b="0" i="0" u="none" strike="noStrike">
                          <a:solidFill>
                            <a:schemeClr val="tx2"/>
                          </a:solidFill>
                          <a:effectLst/>
                          <a:latin typeface="+mn-lt"/>
                        </a:rPr>
                        <a:t>3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9559883"/>
                  </a:ext>
                </a:extLst>
              </a:tr>
              <a:tr h="72141">
                <a:tc>
                  <a:txBody>
                    <a:bodyPr/>
                    <a:lstStyle/>
                    <a:p>
                      <a:pPr algn="ctr" fontAlgn="b"/>
                      <a:r>
                        <a:rPr lang="en-CH" sz="400" b="0" i="0" u="none" strike="noStrike">
                          <a:solidFill>
                            <a:schemeClr val="tx2"/>
                          </a:solidFill>
                          <a:effectLst/>
                          <a:latin typeface="+mn-lt"/>
                        </a:rPr>
                        <a:t>3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46527690"/>
                  </a:ext>
                </a:extLst>
              </a:tr>
              <a:tr h="72141">
                <a:tc>
                  <a:txBody>
                    <a:bodyPr/>
                    <a:lstStyle/>
                    <a:p>
                      <a:pPr algn="ctr" fontAlgn="b"/>
                      <a:r>
                        <a:rPr lang="en-CH" sz="400" b="0" i="0" u="none" strike="noStrike">
                          <a:solidFill>
                            <a:schemeClr val="tx2"/>
                          </a:solidFill>
                          <a:effectLst/>
                          <a:latin typeface="+mn-lt"/>
                        </a:rPr>
                        <a:t>3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3181845"/>
                  </a:ext>
                </a:extLst>
              </a:tr>
              <a:tr h="72141">
                <a:tc>
                  <a:txBody>
                    <a:bodyPr/>
                    <a:lstStyle/>
                    <a:p>
                      <a:pPr algn="ctr" fontAlgn="b"/>
                      <a:r>
                        <a:rPr lang="en-CH" sz="400" b="0" i="0" u="none" strike="noStrike">
                          <a:solidFill>
                            <a:schemeClr val="tx2"/>
                          </a:solidFill>
                          <a:effectLst/>
                          <a:latin typeface="+mn-lt"/>
                        </a:rPr>
                        <a:t>3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447234"/>
                  </a:ext>
                </a:extLst>
              </a:tr>
              <a:tr h="72141">
                <a:tc>
                  <a:txBody>
                    <a:bodyPr/>
                    <a:lstStyle/>
                    <a:p>
                      <a:pPr algn="ctr" fontAlgn="b"/>
                      <a:r>
                        <a:rPr lang="en-CH" sz="400" b="0" i="0" u="none" strike="noStrike">
                          <a:solidFill>
                            <a:schemeClr val="tx2"/>
                          </a:solidFill>
                          <a:effectLst/>
                          <a:latin typeface="+mn-lt"/>
                        </a:rPr>
                        <a:t>3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ogtlandweide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27023"/>
                  </a:ext>
                </a:extLst>
              </a:tr>
              <a:tr h="72141">
                <a:tc>
                  <a:txBody>
                    <a:bodyPr/>
                    <a:lstStyle/>
                    <a:p>
                      <a:pPr algn="ctr" fontAlgn="b"/>
                      <a:r>
                        <a:rPr lang="en-CH" sz="400" b="0" i="0" u="none" strike="noStrike">
                          <a:solidFill>
                            <a:schemeClr val="tx2"/>
                          </a:solidFill>
                          <a:effectLst/>
                          <a:latin typeface="+mn-lt"/>
                        </a:rPr>
                        <a:t>3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oldsteig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8801837"/>
                  </a:ext>
                </a:extLst>
              </a:tr>
              <a:tr h="72141">
                <a:tc>
                  <a:txBody>
                    <a:bodyPr/>
                    <a:lstStyle/>
                    <a:p>
                      <a:pPr algn="ctr" fontAlgn="b"/>
                      <a:r>
                        <a:rPr lang="en-CH" sz="400" b="0" i="0" u="none" strike="noStrike">
                          <a:solidFill>
                            <a:schemeClr val="tx2"/>
                          </a:solidFill>
                          <a:effectLst/>
                          <a:latin typeface="+mn-lt"/>
                        </a:rPr>
                        <a:t>3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achsen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0466797"/>
                  </a:ext>
                </a:extLst>
              </a:tr>
              <a:tr h="72141">
                <a:tc>
                  <a:txBody>
                    <a:bodyPr/>
                    <a:lstStyle/>
                    <a:p>
                      <a:pPr algn="ctr" fontAlgn="b"/>
                      <a:r>
                        <a:rPr lang="en-CH" sz="400" b="0" i="0" u="none" strike="noStrike">
                          <a:solidFill>
                            <a:schemeClr val="tx2"/>
                          </a:solidFill>
                          <a:effectLst/>
                          <a:latin typeface="+mn-lt"/>
                        </a:rPr>
                        <a:t>3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73938335"/>
                  </a:ext>
                </a:extLst>
              </a:tr>
              <a:tr h="72141">
                <a:tc>
                  <a:txBody>
                    <a:bodyPr/>
                    <a:lstStyle/>
                    <a:p>
                      <a:pPr algn="ctr" fontAlgn="b"/>
                      <a:r>
                        <a:rPr lang="en-CH" sz="400" b="0" i="0" u="none" strike="noStrike">
                          <a:solidFill>
                            <a:schemeClr val="tx2"/>
                          </a:solidFill>
                          <a:effectLst/>
                          <a:latin typeface="+mn-lt"/>
                        </a:rPr>
                        <a:t>4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en-US" sz="400" b="0" i="0" u="none" strike="noStrike">
                          <a:solidFill>
                            <a:schemeClr val="tx2"/>
                          </a:solidFill>
                          <a:effectLst/>
                          <a:latin typeface="+mn-lt"/>
                        </a:rPr>
                        <a:t>Kerrygold Becher 1 Ct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3170031"/>
                  </a:ext>
                </a:extLst>
              </a:tr>
              <a:tr h="72141">
                <a:tc>
                  <a:txBody>
                    <a:bodyPr/>
                    <a:lstStyle/>
                    <a:p>
                      <a:pPr algn="ctr" fontAlgn="b"/>
                      <a:r>
                        <a:rPr lang="en-CH" sz="400" b="0" i="0" u="none" strike="noStrike">
                          <a:solidFill>
                            <a:schemeClr val="tx2"/>
                          </a:solidFill>
                          <a:effectLst/>
                          <a:latin typeface="+mn-lt"/>
                        </a:rPr>
                        <a:t>4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8716760"/>
                  </a:ext>
                </a:extLst>
              </a:tr>
              <a:tr h="72141">
                <a:tc>
                  <a:txBody>
                    <a:bodyPr/>
                    <a:lstStyle/>
                    <a:p>
                      <a:pPr algn="ctr" fontAlgn="b"/>
                      <a:r>
                        <a:rPr lang="en-CH" sz="400" b="0" i="0" u="none" strike="noStrike">
                          <a:solidFill>
                            <a:schemeClr val="tx2"/>
                          </a:solidFill>
                          <a:effectLst/>
                          <a:latin typeface="+mn-lt"/>
                        </a:rPr>
                        <a:t>4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Uplaender Bio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759696"/>
                  </a:ext>
                </a:extLst>
              </a:tr>
              <a:tr h="72141">
                <a:tc>
                  <a:txBody>
                    <a:bodyPr/>
                    <a:lstStyle/>
                    <a:p>
                      <a:pPr algn="ctr" fontAlgn="b"/>
                      <a:r>
                        <a:rPr lang="en-CH" sz="400" b="0" i="0" u="none" strike="noStrike">
                          <a:solidFill>
                            <a:schemeClr val="tx2"/>
                          </a:solidFill>
                          <a:effectLst/>
                          <a:latin typeface="+mn-lt"/>
                        </a:rPr>
                        <a:t>4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Grill / Fleisch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88487155"/>
                  </a:ext>
                </a:extLst>
              </a:tr>
              <a:tr h="72141">
                <a:tc>
                  <a:txBody>
                    <a:bodyPr/>
                    <a:lstStyle/>
                    <a:p>
                      <a:pPr algn="ctr" fontAlgn="b"/>
                      <a:r>
                        <a:rPr lang="en-CH" sz="400" b="0" i="0" u="none" strike="noStrike">
                          <a:solidFill>
                            <a:schemeClr val="tx2"/>
                          </a:solidFill>
                          <a:effectLst/>
                          <a:latin typeface="+mn-lt"/>
                        </a:rPr>
                        <a:t>4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Dairygold Original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1853753"/>
                  </a:ext>
                </a:extLst>
              </a:tr>
              <a:tr h="72141">
                <a:tc>
                  <a:txBody>
                    <a:bodyPr/>
                    <a:lstStyle/>
                    <a:p>
                      <a:pPr algn="ctr" fontAlgn="b"/>
                      <a:r>
                        <a:rPr lang="en-CH" sz="400" b="0" i="0" u="none" strike="noStrike">
                          <a:solidFill>
                            <a:schemeClr val="tx2"/>
                          </a:solidFill>
                          <a:effectLst/>
                          <a:latin typeface="+mn-lt"/>
                        </a:rPr>
                        <a:t>4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4004136"/>
                  </a:ext>
                </a:extLst>
              </a:tr>
              <a:tr h="72141">
                <a:tc>
                  <a:txBody>
                    <a:bodyPr/>
                    <a:lstStyle/>
                    <a:p>
                      <a:pPr algn="ctr" fontAlgn="b"/>
                      <a:r>
                        <a:rPr lang="en-CH" sz="400" b="0" i="0" u="none" strike="noStrike">
                          <a:solidFill>
                            <a:schemeClr val="tx2"/>
                          </a:solidFill>
                          <a:effectLst/>
                          <a:latin typeface="+mn-lt"/>
                        </a:rPr>
                        <a:t>4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uessrahmbut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
                <a:tc>
                  <a:txBody>
                    <a:bodyPr/>
                    <a:lstStyle/>
                    <a:p>
                      <a:pPr algn="ctr" fontAlgn="b"/>
                      <a:r>
                        <a:rPr lang="en-CH" sz="400" b="0" i="0" u="none" strike="noStrike">
                          <a:solidFill>
                            <a:schemeClr val="tx2"/>
                          </a:solidFill>
                          <a:effectLst/>
                          <a:latin typeface="+mn-lt"/>
                        </a:rPr>
                        <a:t>4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Suessrahmbutter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
                <a:tc>
                  <a:txBody>
                    <a:bodyPr/>
                    <a:lstStyle/>
                    <a:p>
                      <a:pPr algn="ctr" fontAlgn="b"/>
                      <a:r>
                        <a:rPr lang="en-CH" sz="400" b="0" i="0" u="none" strike="noStrike">
                          <a:solidFill>
                            <a:schemeClr val="tx2"/>
                          </a:solidFill>
                          <a:effectLst/>
                          <a:latin typeface="+mn-lt"/>
                        </a:rPr>
                        <a:t>4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Mediterran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
                <a:tc>
                  <a:txBody>
                    <a:bodyPr/>
                    <a:lstStyle/>
                    <a:p>
                      <a:pPr algn="ctr" fontAlgn="b"/>
                      <a:r>
                        <a:rPr lang="en-CH" sz="400" b="0" i="0" u="none" strike="noStrike">
                          <a:solidFill>
                            <a:schemeClr val="tx2"/>
                          </a:solidFill>
                          <a:effectLst/>
                          <a:latin typeface="+mn-lt"/>
                        </a:rPr>
                        <a:t>4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Frankenland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
                <a:tc>
                  <a:txBody>
                    <a:bodyPr/>
                    <a:lstStyle/>
                    <a:p>
                      <a:pPr algn="ctr" fontAlgn="b"/>
                      <a:r>
                        <a:rPr lang="en-CH" sz="400" b="0" i="0" u="none" strike="noStrike">
                          <a:solidFill>
                            <a:schemeClr val="tx2"/>
                          </a:solidFill>
                          <a:effectLst/>
                          <a:latin typeface="+mn-lt"/>
                        </a:rPr>
                        <a:t>5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dirty="0" err="1">
                          <a:solidFill>
                            <a:schemeClr val="tx2"/>
                          </a:solidFill>
                          <a:effectLst/>
                          <a:latin typeface="+mn-lt"/>
                        </a:rPr>
                        <a:t>Meggle</a:t>
                      </a:r>
                      <a:r>
                        <a:rPr lang="fr-CH" sz="400" b="0" i="0" u="none" strike="noStrike" dirty="0">
                          <a:solidFill>
                            <a:schemeClr val="tx2"/>
                          </a:solidFill>
                          <a:effectLst/>
                          <a:latin typeface="+mn-lt"/>
                        </a:rPr>
                        <a:t> </a:t>
                      </a:r>
                      <a:r>
                        <a:rPr lang="fr-CH" sz="400" b="0" i="0" u="none" strike="noStrike" dirty="0" err="1">
                          <a:solidFill>
                            <a:schemeClr val="tx2"/>
                          </a:solidFill>
                          <a:effectLst/>
                          <a:latin typeface="+mn-lt"/>
                        </a:rPr>
                        <a:t>Vegane</a:t>
                      </a:r>
                      <a:r>
                        <a:rPr lang="fr-CH" sz="400" b="0" i="0" u="none" strike="noStrike" dirty="0">
                          <a:solidFill>
                            <a:schemeClr val="tx2"/>
                          </a:solidFill>
                          <a:effectLst/>
                          <a:latin typeface="+mn-lt"/>
                        </a:rPr>
                        <a:t> Grill / </a:t>
                      </a:r>
                      <a:r>
                        <a:rPr lang="fr-CH" sz="400" b="0" i="0" u="none" strike="noStrike" dirty="0" err="1">
                          <a:solidFill>
                            <a:schemeClr val="tx2"/>
                          </a:solidFill>
                          <a:effectLst/>
                          <a:latin typeface="+mn-lt"/>
                        </a:rPr>
                        <a:t>Fleisch</a:t>
                      </a:r>
                      <a:r>
                        <a:rPr lang="fr-CH" sz="400" b="0" i="0" u="none" strike="noStrike" dirty="0">
                          <a:solidFill>
                            <a:schemeClr val="tx2"/>
                          </a:solidFill>
                          <a:effectLst/>
                          <a:latin typeface="+mn-lt"/>
                        </a:rPr>
                        <a:t> Tube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5481369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9/19/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dirty="0"/>
              <a:t>Data Source | Trade Panel | Ending October 2022</a:t>
            </a:r>
            <a:endParaRPr lang="en-GB" dirty="0"/>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dirty="0" err="1">
                          <a:solidFill>
                            <a:schemeClr val="tx1"/>
                          </a:solidFill>
                          <a:effectLst/>
                          <a:latin typeface="Nexa Book"/>
                        </a:rPr>
                        <a:t>Private</a:t>
                      </a:r>
                      <a:r>
                        <a:rPr lang="fr-CH" sz="600" b="0" i="0" u="none" strike="noStrike" dirty="0">
                          <a:solidFill>
                            <a:schemeClr val="tx1"/>
                          </a:solidFill>
                          <a:effectLst/>
                          <a:latin typeface="Nexa Book"/>
                        </a:rPr>
                        <a:t>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537221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9/19/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7" name="TextBox 6">
            <a:extLst>
              <a:ext uri="{FF2B5EF4-FFF2-40B4-BE49-F238E27FC236}">
                <a16:creationId xmlns:a16="http://schemas.microsoft.com/office/drawing/2014/main" id="{B99D6BF8-7FB5-6564-6543-3CFF5B6DB850}"/>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38065924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9/19/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Bottom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dirty="0" err="1">
                          <a:solidFill>
                            <a:schemeClr val="tx1"/>
                          </a:solidFill>
                          <a:effectLst/>
                          <a:latin typeface="Nexa Book"/>
                        </a:rPr>
                        <a:t>Fandicosta</a:t>
                      </a:r>
                      <a:endParaRPr lang="fr-CH" sz="600" b="0" i="0" u="none" strike="noStrike" dirty="0">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7" name="TextBox 6">
            <a:extLst>
              <a:ext uri="{FF2B5EF4-FFF2-40B4-BE49-F238E27FC236}">
                <a16:creationId xmlns:a16="http://schemas.microsoft.com/office/drawing/2014/main" id="{134FBE35-BB2F-B6D5-5695-620060B51026}"/>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28936995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9/19/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466375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B7551193-7C66-436D-8ABA-4B99F0776D1A}">
  <ds:schemaRefs>
    <ds:schemaRef ds:uri="http://schemas.microsoft.com/sharepoint/v3/contenttype/forms"/>
  </ds:schemaRefs>
</ds:datastoreItem>
</file>

<file path=customXml/itemProps2.xml><?xml version="1.0" encoding="utf-8"?>
<ds:datastoreItem xmlns:ds="http://schemas.openxmlformats.org/officeDocument/2006/customXml" ds:itemID="{B4CCBFC5-8914-480B-85D5-05E1FE2691B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9DC54F4-FA62-467D-956C-561D8E4CAD18}">
  <ds:schemaRefs>
    <ds:schemaRef ds:uri="474cf4e4-8a51-432b-9e1b-0ea607ac38ff"/>
    <ds:schemaRef ds:uri="http://purl.org/dc/elements/1.1/"/>
    <ds:schemaRef ds:uri="http://www.w3.org/XML/1998/namespace"/>
    <ds:schemaRef ds:uri="http://schemas.microsoft.com/office/infopath/2007/PartnerControls"/>
    <ds:schemaRef ds:uri="http://purl.org/dc/dcmitype/"/>
    <ds:schemaRef ds:uri="http://schemas.microsoft.com/office/2006/documentManagement/types"/>
    <ds:schemaRef ds:uri="0ad93b7f-b0cd-4c46-aaaf-ff14495948cf"/>
    <ds:schemaRef ds:uri="http://schemas.microsoft.com/office/2006/metadata/properties"/>
    <ds:schemaRef ds:uri="http://schemas.openxmlformats.org/package/2006/metadata/core-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0</TotalTime>
  <Words>3615</Words>
  <Application>Microsoft Office PowerPoint</Application>
  <PresentationFormat>On-screen Show (16:9)</PresentationFormat>
  <Paragraphs>1211</Paragraphs>
  <Slides>30</Slides>
  <Notes>11</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43" baseType="lpstr">
      <vt:lpstr>Aptos</vt:lpstr>
      <vt:lpstr>Arial</vt:lpstr>
      <vt:lpstr>Calibri</vt:lpstr>
      <vt:lpstr>Nexa</vt:lpstr>
      <vt:lpstr>Nexa Bold</vt:lpstr>
      <vt:lpstr>Nexa Bold (Headings)</vt:lpstr>
      <vt:lpstr>Nexa Book</vt:lpstr>
      <vt:lpstr>Nexa Book Italic</vt:lpstr>
      <vt:lpstr>Nexa-RegularItalic</vt:lpstr>
      <vt:lpstr>Open Sans</vt:lpstr>
      <vt:lpstr>Raleway</vt:lpstr>
      <vt:lpstr>PricingOne Light Template Oct 2024</vt:lpstr>
      <vt:lpstr>think-cell Slide</vt:lpstr>
      <vt:lpstr>Promo evolution (Replace With SO WHAT)</vt:lpstr>
      <vt:lpstr>VSOD Summary by Sector (Replace With SO WHAT)</vt:lpstr>
      <vt:lpstr>Value uplift by retailer by brand (Replace With SO WHAT)</vt:lpstr>
      <vt:lpstr>Volume Uplift vs discount depth (Replace With SO WHAT)</vt:lpstr>
      <vt:lpstr>Value Uplift vs Promo Efficiency Quadrant (Replace With SO WHAT)</vt:lpstr>
      <vt:lpstr>Top 20 promotions (Replace With SO WHAT)</vt:lpstr>
      <vt:lpstr>Top 20 promotions CLIENT ONLY (Replace With SO WHAT)</vt:lpstr>
      <vt:lpstr>Bottom 20 promotions CLIENT ONLY (Replace With SO WHAT)</vt:lpstr>
      <vt:lpstr>Volume Sold on Deal (Replace With SO WHAT)</vt:lpstr>
      <vt:lpstr>Promo share vs Value Share (Replace With SO WHAT)</vt:lpstr>
      <vt:lpstr>Promo Sales by total size (Replace With SO WHAT)</vt:lpstr>
      <vt:lpstr>Promo Sales by promo type (Replace With SO WHAT)</vt:lpstr>
      <vt:lpstr>Feature Share vs. Fair Share (Replace With SO WHAT)</vt:lpstr>
      <vt:lpstr>Display Share vs. Fair Share (Replace With SO WHAT)</vt:lpstr>
      <vt:lpstr>Promo Frequency learnings (Replace With SO WHAT)</vt:lpstr>
      <vt:lpstr>Promo sales per retailer (Replace With SO WHAT)</vt:lpstr>
      <vt:lpstr>Promo sales per retailer (Replace With SO WHAT)</vt:lpstr>
      <vt:lpstr>Promo sales per retailer (Replace With SO WHAT)</vt:lpstr>
      <vt:lpstr>Promo sales per retailer (Replace With SO WHAT)</vt:lpstr>
      <vt:lpstr>Value Uplift vs discount depth (Replace With SO WHAT)</vt:lpstr>
      <vt:lpstr>Seasonality Index (Replace with SO WHAT)</vt:lpstr>
      <vt:lpstr>Seasonality Index (Replace with SO WHAT)</vt:lpstr>
      <vt:lpstr>Seasonality Index (Replace with SO WHAT)</vt:lpstr>
      <vt:lpstr>Seasonality Index (Replace with SO WHAT)</vt:lpstr>
      <vt:lpstr>Seasonality Index (Replace with SO WHAT)</vt:lpstr>
      <vt:lpstr>Seasonality Index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Bhagya RANASINGHE</dc:creator>
  <cp:lastModifiedBy>Sophie  ZIMMERMANN</cp:lastModifiedBy>
  <cp:revision>60</cp:revision>
  <dcterms:created xsi:type="dcterms:W3CDTF">2024-07-08T12:46:55Z</dcterms:created>
  <dcterms:modified xsi:type="dcterms:W3CDTF">2025-09-19T06:29: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